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51"/>
  </p:notesMasterIdLst>
  <p:sldIdLst>
    <p:sldId id="297" r:id="rId6"/>
    <p:sldId id="332" r:id="rId7"/>
    <p:sldId id="302" r:id="rId8"/>
    <p:sldId id="310" r:id="rId9"/>
    <p:sldId id="308" r:id="rId10"/>
    <p:sldId id="311" r:id="rId11"/>
    <p:sldId id="363" r:id="rId12"/>
    <p:sldId id="309" r:id="rId13"/>
    <p:sldId id="353" r:id="rId14"/>
    <p:sldId id="355" r:id="rId15"/>
    <p:sldId id="312" r:id="rId16"/>
    <p:sldId id="314" r:id="rId17"/>
    <p:sldId id="354" r:id="rId18"/>
    <p:sldId id="333" r:id="rId19"/>
    <p:sldId id="336" r:id="rId20"/>
    <p:sldId id="335" r:id="rId21"/>
    <p:sldId id="304" r:id="rId22"/>
    <p:sldId id="301" r:id="rId23"/>
    <p:sldId id="306" r:id="rId24"/>
    <p:sldId id="315" r:id="rId25"/>
    <p:sldId id="338" r:id="rId26"/>
    <p:sldId id="319" r:id="rId27"/>
    <p:sldId id="339" r:id="rId28"/>
    <p:sldId id="364" r:id="rId29"/>
    <p:sldId id="340" r:id="rId30"/>
    <p:sldId id="341" r:id="rId31"/>
    <p:sldId id="357" r:id="rId32"/>
    <p:sldId id="358" r:id="rId33"/>
    <p:sldId id="320" r:id="rId34"/>
    <p:sldId id="321" r:id="rId35"/>
    <p:sldId id="344" r:id="rId36"/>
    <p:sldId id="322" r:id="rId37"/>
    <p:sldId id="359" r:id="rId38"/>
    <p:sldId id="360" r:id="rId39"/>
    <p:sldId id="361" r:id="rId40"/>
    <p:sldId id="362" r:id="rId41"/>
    <p:sldId id="349" r:id="rId42"/>
    <p:sldId id="323" r:id="rId43"/>
    <p:sldId id="324" r:id="rId44"/>
    <p:sldId id="325" r:id="rId45"/>
    <p:sldId id="326" r:id="rId46"/>
    <p:sldId id="327" r:id="rId47"/>
    <p:sldId id="328" r:id="rId48"/>
    <p:sldId id="329" r:id="rId49"/>
    <p:sldId id="330" r:id="rId50"/>
  </p:sldIdLst>
  <p:sldSz cx="12192000" cy="6858000"/>
  <p:notesSz cx="6888163" cy="10018713"/>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rthe Fuglsang" initials="DF" lastIdx="1" clrIdx="0">
    <p:extLst>
      <p:ext uri="{19B8F6BF-5375-455C-9EA6-DF929625EA0E}">
        <p15:presenceInfo xmlns:p15="http://schemas.microsoft.com/office/powerpoint/2012/main" userId="S::dofug@arlafoods.com::46118ac5-336e-47c7-83cd-335b070681a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B800"/>
    <a:srgbClr val="CCFF99"/>
    <a:srgbClr val="B4C7E7"/>
    <a:srgbClr val="CCECFF"/>
    <a:srgbClr val="FFE699"/>
    <a:srgbClr val="DAE3F3"/>
    <a:srgbClr val="F5F5F5"/>
    <a:srgbClr val="FFFFFF"/>
    <a:srgbClr val="FFF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9EFF20-996A-D3C4-A4F7-1BF247AC3C30}" v="8" dt="2026-03-10T13:11:50.9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uglsangdorthe" userId="S::fuglsangdorthe_hotmail.com#ext#@hedenstedgolf.onmicrosoft.com::b12c3e34-9b3e-4f81-86a6-9bdd70540397" providerId="AD" clId="Web-{AED082B3-3A12-63AF-AEC1-295096363B2F}"/>
    <pc:docChg chg="modSld">
      <pc:chgData name="fuglsangdorthe" userId="S::fuglsangdorthe_hotmail.com#ext#@hedenstedgolf.onmicrosoft.com::b12c3e34-9b3e-4f81-86a6-9bdd70540397" providerId="AD" clId="Web-{AED082B3-3A12-63AF-AEC1-295096363B2F}" dt="2026-03-05T10:22:32.470" v="181" actId="1076"/>
      <pc:docMkLst>
        <pc:docMk/>
      </pc:docMkLst>
      <pc:sldChg chg="addSp modSp">
        <pc:chgData name="fuglsangdorthe" userId="S::fuglsangdorthe_hotmail.com#ext#@hedenstedgolf.onmicrosoft.com::b12c3e34-9b3e-4f81-86a6-9bdd70540397" providerId="AD" clId="Web-{AED082B3-3A12-63AF-AEC1-295096363B2F}" dt="2026-03-05T09:37:29.830" v="29" actId="20577"/>
        <pc:sldMkLst>
          <pc:docMk/>
          <pc:sldMk cId="4137845029" sldId="311"/>
        </pc:sldMkLst>
        <pc:spChg chg="add mod">
          <ac:chgData name="fuglsangdorthe" userId="S::fuglsangdorthe_hotmail.com#ext#@hedenstedgolf.onmicrosoft.com::b12c3e34-9b3e-4f81-86a6-9bdd70540397" providerId="AD" clId="Web-{AED082B3-3A12-63AF-AEC1-295096363B2F}" dt="2026-03-05T09:37:29.830" v="29" actId="20577"/>
          <ac:spMkLst>
            <pc:docMk/>
            <pc:sldMk cId="4137845029" sldId="311"/>
            <ac:spMk id="3" creationId="{81DEE209-E4EE-F8DF-8137-A4C991E68D55}"/>
          </ac:spMkLst>
        </pc:spChg>
      </pc:sldChg>
      <pc:sldChg chg="modSp">
        <pc:chgData name="fuglsangdorthe" userId="S::fuglsangdorthe_hotmail.com#ext#@hedenstedgolf.onmicrosoft.com::b12c3e34-9b3e-4f81-86a6-9bdd70540397" providerId="AD" clId="Web-{AED082B3-3A12-63AF-AEC1-295096363B2F}" dt="2026-03-05T09:40:01.058" v="40" actId="14100"/>
        <pc:sldMkLst>
          <pc:docMk/>
          <pc:sldMk cId="1515476668" sldId="353"/>
        </pc:sldMkLst>
        <pc:spChg chg="mod">
          <ac:chgData name="fuglsangdorthe" userId="S::fuglsangdorthe_hotmail.com#ext#@hedenstedgolf.onmicrosoft.com::b12c3e34-9b3e-4f81-86a6-9bdd70540397" providerId="AD" clId="Web-{AED082B3-3A12-63AF-AEC1-295096363B2F}" dt="2026-03-05T09:38:45.974" v="33" actId="14100"/>
          <ac:spMkLst>
            <pc:docMk/>
            <pc:sldMk cId="1515476668" sldId="353"/>
            <ac:spMk id="32" creationId="{318F246B-ECEE-7C6B-EB93-3676885A3632}"/>
          </ac:spMkLst>
        </pc:spChg>
        <pc:picChg chg="mod">
          <ac:chgData name="fuglsangdorthe" userId="S::fuglsangdorthe_hotmail.com#ext#@hedenstedgolf.onmicrosoft.com::b12c3e34-9b3e-4f81-86a6-9bdd70540397" providerId="AD" clId="Web-{AED082B3-3A12-63AF-AEC1-295096363B2F}" dt="2026-03-05T09:40:01.058" v="40" actId="14100"/>
          <ac:picMkLst>
            <pc:docMk/>
            <pc:sldMk cId="1515476668" sldId="353"/>
            <ac:picMk id="34" creationId="{567C65E0-F0C7-F978-1D75-7E248A58A2BE}"/>
          </ac:picMkLst>
        </pc:picChg>
      </pc:sldChg>
      <pc:sldChg chg="modSp">
        <pc:chgData name="fuglsangdorthe" userId="S::fuglsangdorthe_hotmail.com#ext#@hedenstedgolf.onmicrosoft.com::b12c3e34-9b3e-4f81-86a6-9bdd70540397" providerId="AD" clId="Web-{AED082B3-3A12-63AF-AEC1-295096363B2F}" dt="2026-03-05T09:39:31.540" v="39" actId="20577"/>
        <pc:sldMkLst>
          <pc:docMk/>
          <pc:sldMk cId="3945526424" sldId="355"/>
        </pc:sldMkLst>
        <pc:spChg chg="mod">
          <ac:chgData name="fuglsangdorthe" userId="S::fuglsangdorthe_hotmail.com#ext#@hedenstedgolf.onmicrosoft.com::b12c3e34-9b3e-4f81-86a6-9bdd70540397" providerId="AD" clId="Web-{AED082B3-3A12-63AF-AEC1-295096363B2F}" dt="2026-03-05T09:38:57.475" v="35" actId="1076"/>
          <ac:spMkLst>
            <pc:docMk/>
            <pc:sldMk cId="3945526424" sldId="355"/>
            <ac:spMk id="2" creationId="{6ED44A24-729A-23D2-EDC5-A64C9680F877}"/>
          </ac:spMkLst>
        </pc:spChg>
        <pc:spChg chg="mod">
          <ac:chgData name="fuglsangdorthe" userId="S::fuglsangdorthe_hotmail.com#ext#@hedenstedgolf.onmicrosoft.com::b12c3e34-9b3e-4f81-86a6-9bdd70540397" providerId="AD" clId="Web-{AED082B3-3A12-63AF-AEC1-295096363B2F}" dt="2026-03-05T09:39:31.540" v="39" actId="20577"/>
          <ac:spMkLst>
            <pc:docMk/>
            <pc:sldMk cId="3945526424" sldId="355"/>
            <ac:spMk id="15" creationId="{E14F6D47-D81F-C761-3C0E-25F6ECB67953}"/>
          </ac:spMkLst>
        </pc:spChg>
        <pc:spChg chg="mod">
          <ac:chgData name="fuglsangdorthe" userId="S::fuglsangdorthe_hotmail.com#ext#@hedenstedgolf.onmicrosoft.com::b12c3e34-9b3e-4f81-86a6-9bdd70540397" providerId="AD" clId="Web-{AED082B3-3A12-63AF-AEC1-295096363B2F}" dt="2026-03-05T09:39:14.914" v="36" actId="14100"/>
          <ac:spMkLst>
            <pc:docMk/>
            <pc:sldMk cId="3945526424" sldId="355"/>
            <ac:spMk id="24" creationId="{D3D672D8-84E6-B6EC-1035-9542C435C9DF}"/>
          </ac:spMkLst>
        </pc:spChg>
      </pc:sldChg>
      <pc:sldChg chg="addSp delSp modSp mod setBg">
        <pc:chgData name="fuglsangdorthe" userId="S::fuglsangdorthe_hotmail.com#ext#@hedenstedgolf.onmicrosoft.com::b12c3e34-9b3e-4f81-86a6-9bdd70540397" providerId="AD" clId="Web-{AED082B3-3A12-63AF-AEC1-295096363B2F}" dt="2026-03-05T10:21:01.062" v="173" actId="1076"/>
        <pc:sldMkLst>
          <pc:docMk/>
          <pc:sldMk cId="33577729" sldId="358"/>
        </pc:sldMkLst>
        <pc:spChg chg="mod">
          <ac:chgData name="fuglsangdorthe" userId="S::fuglsangdorthe_hotmail.com#ext#@hedenstedgolf.onmicrosoft.com::b12c3e34-9b3e-4f81-86a6-9bdd70540397" providerId="AD" clId="Web-{AED082B3-3A12-63AF-AEC1-295096363B2F}" dt="2026-03-05T10:21:01.062" v="173" actId="1076"/>
          <ac:spMkLst>
            <pc:docMk/>
            <pc:sldMk cId="33577729" sldId="358"/>
            <ac:spMk id="2" creationId="{2CEBC2BB-F458-815F-0F4F-31830E14799A}"/>
          </ac:spMkLst>
        </pc:spChg>
        <pc:picChg chg="mod modCrop">
          <ac:chgData name="fuglsangdorthe" userId="S::fuglsangdorthe_hotmail.com#ext#@hedenstedgolf.onmicrosoft.com::b12c3e34-9b3e-4f81-86a6-9bdd70540397" providerId="AD" clId="Web-{AED082B3-3A12-63AF-AEC1-295096363B2F}" dt="2026-03-05T10:20:36.234" v="168"/>
          <ac:picMkLst>
            <pc:docMk/>
            <pc:sldMk cId="33577729" sldId="358"/>
            <ac:picMk id="5" creationId="{BBC67C20-9B6D-A1F6-AE93-87CFCCC254C4}"/>
          </ac:picMkLst>
        </pc:picChg>
      </pc:sldChg>
      <pc:sldChg chg="addSp delSp modSp mod setBg">
        <pc:chgData name="fuglsangdorthe" userId="S::fuglsangdorthe_hotmail.com#ext#@hedenstedgolf.onmicrosoft.com::b12c3e34-9b3e-4f81-86a6-9bdd70540397" providerId="AD" clId="Web-{AED082B3-3A12-63AF-AEC1-295096363B2F}" dt="2026-03-05T10:22:32.470" v="181" actId="1076"/>
        <pc:sldMkLst>
          <pc:docMk/>
          <pc:sldMk cId="2187189798" sldId="363"/>
        </pc:sldMkLst>
        <pc:spChg chg="mod ord">
          <ac:chgData name="fuglsangdorthe" userId="S::fuglsangdorthe_hotmail.com#ext#@hedenstedgolf.onmicrosoft.com::b12c3e34-9b3e-4f81-86a6-9bdd70540397" providerId="AD" clId="Web-{AED082B3-3A12-63AF-AEC1-295096363B2F}" dt="2026-03-05T10:11:35.036" v="102" actId="1076"/>
          <ac:spMkLst>
            <pc:docMk/>
            <pc:sldMk cId="2187189798" sldId="363"/>
            <ac:spMk id="10" creationId="{6D3DBB50-4C62-18A9-56EE-B5B7E411CEAA}"/>
          </ac:spMkLst>
        </pc:spChg>
        <pc:picChg chg="ord">
          <ac:chgData name="fuglsangdorthe" userId="S::fuglsangdorthe_hotmail.com#ext#@hedenstedgolf.onmicrosoft.com::b12c3e34-9b3e-4f81-86a6-9bdd70540397" providerId="AD" clId="Web-{AED082B3-3A12-63AF-AEC1-295096363B2F}" dt="2026-03-05T10:09:32.504" v="79"/>
          <ac:picMkLst>
            <pc:docMk/>
            <pc:sldMk cId="2187189798" sldId="363"/>
            <ac:picMk id="2" creationId="{3F3B9C95-5526-9517-03DF-CE0BB5670C0D}"/>
          </ac:picMkLst>
        </pc:picChg>
        <pc:picChg chg="mod ord modCrop">
          <ac:chgData name="fuglsangdorthe" userId="S::fuglsangdorthe_hotmail.com#ext#@hedenstedgolf.onmicrosoft.com::b12c3e34-9b3e-4f81-86a6-9bdd70540397" providerId="AD" clId="Web-{AED082B3-3A12-63AF-AEC1-295096363B2F}" dt="2026-03-05T10:09:32.504" v="79"/>
          <ac:picMkLst>
            <pc:docMk/>
            <pc:sldMk cId="2187189798" sldId="363"/>
            <ac:picMk id="3" creationId="{F87F4BAF-07DC-9A93-CE8F-BB68B4474E32}"/>
          </ac:picMkLst>
        </pc:picChg>
        <pc:picChg chg="add mod ord modCrop">
          <ac:chgData name="fuglsangdorthe" userId="S::fuglsangdorthe_hotmail.com#ext#@hedenstedgolf.onmicrosoft.com::b12c3e34-9b3e-4f81-86a6-9bdd70540397" providerId="AD" clId="Web-{AED082B3-3A12-63AF-AEC1-295096363B2F}" dt="2026-03-05T10:14:52.361" v="133" actId="1076"/>
          <ac:picMkLst>
            <pc:docMk/>
            <pc:sldMk cId="2187189798" sldId="363"/>
            <ac:picMk id="4" creationId="{275191D1-1370-2F42-9F77-AD8E586F4843}"/>
          </ac:picMkLst>
        </pc:picChg>
        <pc:picChg chg="mod modCrop">
          <ac:chgData name="fuglsangdorthe" userId="S::fuglsangdorthe_hotmail.com#ext#@hedenstedgolf.onmicrosoft.com::b12c3e34-9b3e-4f81-86a6-9bdd70540397" providerId="AD" clId="Web-{AED082B3-3A12-63AF-AEC1-295096363B2F}" dt="2026-03-05T10:14:37.282" v="130"/>
          <ac:picMkLst>
            <pc:docMk/>
            <pc:sldMk cId="2187189798" sldId="363"/>
            <ac:picMk id="5" creationId="{57519443-4A73-6789-AF0C-66104199A6EE}"/>
          </ac:picMkLst>
        </pc:picChg>
        <pc:picChg chg="add mod ord modCrop">
          <ac:chgData name="fuglsangdorthe" userId="S::fuglsangdorthe_hotmail.com#ext#@hedenstedgolf.onmicrosoft.com::b12c3e34-9b3e-4f81-86a6-9bdd70540397" providerId="AD" clId="Web-{AED082B3-3A12-63AF-AEC1-295096363B2F}" dt="2026-03-05T10:15:22.847" v="136"/>
          <ac:picMkLst>
            <pc:docMk/>
            <pc:sldMk cId="2187189798" sldId="363"/>
            <ac:picMk id="6" creationId="{F923CCBF-877E-172B-2EE3-905CA3DA32CE}"/>
          </ac:picMkLst>
        </pc:picChg>
        <pc:picChg chg="add mod ord">
          <ac:chgData name="fuglsangdorthe" userId="S::fuglsangdorthe_hotmail.com#ext#@hedenstedgolf.onmicrosoft.com::b12c3e34-9b3e-4f81-86a6-9bdd70540397" providerId="AD" clId="Web-{AED082B3-3A12-63AF-AEC1-295096363B2F}" dt="2026-03-05T10:22:24.283" v="179" actId="1076"/>
          <ac:picMkLst>
            <pc:docMk/>
            <pc:sldMk cId="2187189798" sldId="363"/>
            <ac:picMk id="9" creationId="{753F2C6B-B872-EFA3-EFDB-585391B05EAF}"/>
          </ac:picMkLst>
        </pc:picChg>
        <pc:picChg chg="add mod ord">
          <ac:chgData name="fuglsangdorthe" userId="S::fuglsangdorthe_hotmail.com#ext#@hedenstedgolf.onmicrosoft.com::b12c3e34-9b3e-4f81-86a6-9bdd70540397" providerId="AD" clId="Web-{AED082B3-3A12-63AF-AEC1-295096363B2F}" dt="2026-03-05T10:22:32.470" v="181" actId="1076"/>
          <ac:picMkLst>
            <pc:docMk/>
            <pc:sldMk cId="2187189798" sldId="363"/>
            <ac:picMk id="11" creationId="{54341C9B-787E-46CE-B5A1-772E3C736839}"/>
          </ac:picMkLst>
        </pc:picChg>
      </pc:sldChg>
    </pc:docChg>
  </pc:docChgLst>
  <pc:docChgLst>
    <pc:chgData name="nppmadsen@gmail.com" userId="S::urn:spo:guest#nppmadsen@gmail.com::" providerId="AD" clId="Web-{3B9EFF20-996A-D3C4-A4F7-1BF247AC3C30}"/>
    <pc:docChg chg="modSld">
      <pc:chgData name="nppmadsen@gmail.com" userId="S::urn:spo:guest#nppmadsen@gmail.com::" providerId="AD" clId="Web-{3B9EFF20-996A-D3C4-A4F7-1BF247AC3C30}" dt="2026-03-10T13:11:50.940" v="7"/>
      <pc:docMkLst>
        <pc:docMk/>
      </pc:docMkLst>
      <pc:sldChg chg="modSp">
        <pc:chgData name="nppmadsen@gmail.com" userId="S::urn:spo:guest#nppmadsen@gmail.com::" providerId="AD" clId="Web-{3B9EFF20-996A-D3C4-A4F7-1BF247AC3C30}" dt="2026-03-10T13:11:50.940" v="7"/>
        <pc:sldMkLst>
          <pc:docMk/>
          <pc:sldMk cId="69195906" sldId="362"/>
        </pc:sldMkLst>
        <pc:graphicFrameChg chg="mod modGraphic">
          <ac:chgData name="nppmadsen@gmail.com" userId="S::urn:spo:guest#nppmadsen@gmail.com::" providerId="AD" clId="Web-{3B9EFF20-996A-D3C4-A4F7-1BF247AC3C30}" dt="2026-03-10T13:11:50.940" v="7"/>
          <ac:graphicFrameMkLst>
            <pc:docMk/>
            <pc:sldMk cId="69195906" sldId="362"/>
            <ac:graphicFrameMk id="14" creationId="{E26D5254-CB39-0865-3A36-2EC9C2471527}"/>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en-US"/>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ED3AC147-DF49-4039-BF58-A049032C53C6}" type="datetimeFigureOut">
              <a:rPr lang="en-US" smtClean="0"/>
              <a:t>3/10/2026</a:t>
            </a:fld>
            <a:endParaRPr lang="en-US"/>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en-US"/>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5F3C32F5-EDFA-45E7-8D24-13B2F7DB41CD}" type="slidenum">
              <a:rPr lang="en-US" smtClean="0"/>
              <a:t>‹#›</a:t>
            </a:fld>
            <a:endParaRPr lang="en-US"/>
          </a:p>
        </p:txBody>
      </p:sp>
    </p:spTree>
    <p:extLst>
      <p:ext uri="{BB962C8B-B14F-4D97-AF65-F5344CB8AC3E}">
        <p14:creationId xmlns:p14="http://schemas.microsoft.com/office/powerpoint/2010/main" val="23463827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81351-A9DC-E702-E7EB-3EF2BB1FD23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845D1C2-F0EF-5A85-5470-ED759EA736F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CB7F4F7-DF42-9684-2579-8FE4B654BDF9}"/>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82E29BA6-DA59-83D2-021A-EDE1E4FDDC3A}"/>
              </a:ext>
            </a:extLst>
          </p:cNvPr>
          <p:cNvSpPr>
            <a:spLocks noGrp="1"/>
          </p:cNvSpPr>
          <p:nvPr>
            <p:ph type="sldNum" sz="quarter" idx="5"/>
          </p:nvPr>
        </p:nvSpPr>
        <p:spPr/>
        <p:txBody>
          <a:bodyPr/>
          <a:lstStyle/>
          <a:p>
            <a:fld id="{5F3C32F5-EDFA-45E7-8D24-13B2F7DB41CD}" type="slidenum">
              <a:rPr lang="en-US" smtClean="0"/>
              <a:t>1</a:t>
            </a:fld>
            <a:endParaRPr lang="en-US"/>
          </a:p>
        </p:txBody>
      </p:sp>
    </p:spTree>
    <p:extLst>
      <p:ext uri="{BB962C8B-B14F-4D97-AF65-F5344CB8AC3E}">
        <p14:creationId xmlns:p14="http://schemas.microsoft.com/office/powerpoint/2010/main" val="3115445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A87C6-BED8-AB08-500E-61C8B0E8C65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D62BC28-27E7-6248-3F47-9E857FF1597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D743664-FC3B-C77C-C10F-1753BA5EA283}"/>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65522667-9259-C6A5-6CFF-180025578A72}"/>
              </a:ext>
            </a:extLst>
          </p:cNvPr>
          <p:cNvSpPr>
            <a:spLocks noGrp="1"/>
          </p:cNvSpPr>
          <p:nvPr>
            <p:ph type="sldNum" sz="quarter" idx="5"/>
          </p:nvPr>
        </p:nvSpPr>
        <p:spPr/>
        <p:txBody>
          <a:bodyPr/>
          <a:lstStyle/>
          <a:p>
            <a:fld id="{5F3C32F5-EDFA-45E7-8D24-13B2F7DB41CD}" type="slidenum">
              <a:rPr lang="en-US" smtClean="0"/>
              <a:t>10</a:t>
            </a:fld>
            <a:endParaRPr lang="en-US"/>
          </a:p>
        </p:txBody>
      </p:sp>
    </p:spTree>
    <p:extLst>
      <p:ext uri="{BB962C8B-B14F-4D97-AF65-F5344CB8AC3E}">
        <p14:creationId xmlns:p14="http://schemas.microsoft.com/office/powerpoint/2010/main" val="36548046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AFA46-5E80-523C-CEF7-6F0280C06D8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E7BE5AF-8F13-2ED8-412E-10B57456936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74CCD6C-19E4-C4C6-B4C6-8BDC230C2AEB}"/>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CBABD03F-AD07-042F-C4EE-CE0CD198908E}"/>
              </a:ext>
            </a:extLst>
          </p:cNvPr>
          <p:cNvSpPr>
            <a:spLocks noGrp="1"/>
          </p:cNvSpPr>
          <p:nvPr>
            <p:ph type="sldNum" sz="quarter" idx="5"/>
          </p:nvPr>
        </p:nvSpPr>
        <p:spPr/>
        <p:txBody>
          <a:bodyPr/>
          <a:lstStyle/>
          <a:p>
            <a:fld id="{5F3C32F5-EDFA-45E7-8D24-13B2F7DB41CD}" type="slidenum">
              <a:rPr lang="en-US" smtClean="0"/>
              <a:t>11</a:t>
            </a:fld>
            <a:endParaRPr lang="en-US"/>
          </a:p>
        </p:txBody>
      </p:sp>
    </p:spTree>
    <p:extLst>
      <p:ext uri="{BB962C8B-B14F-4D97-AF65-F5344CB8AC3E}">
        <p14:creationId xmlns:p14="http://schemas.microsoft.com/office/powerpoint/2010/main" val="2363843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EB662-BA53-750D-6AEC-FFE4786C141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BB30273-98F7-8F8D-67E9-3E60FE3C872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62BEE2C-CD7F-4838-5FAD-74425177BD1F}"/>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9B6659E1-BC30-65A8-B849-48B422C2E3ED}"/>
              </a:ext>
            </a:extLst>
          </p:cNvPr>
          <p:cNvSpPr>
            <a:spLocks noGrp="1"/>
          </p:cNvSpPr>
          <p:nvPr>
            <p:ph type="sldNum" sz="quarter" idx="5"/>
          </p:nvPr>
        </p:nvSpPr>
        <p:spPr/>
        <p:txBody>
          <a:bodyPr/>
          <a:lstStyle/>
          <a:p>
            <a:fld id="{5F3C32F5-EDFA-45E7-8D24-13B2F7DB41CD}" type="slidenum">
              <a:rPr lang="en-US" smtClean="0"/>
              <a:t>12</a:t>
            </a:fld>
            <a:endParaRPr lang="en-US"/>
          </a:p>
        </p:txBody>
      </p:sp>
    </p:spTree>
    <p:extLst>
      <p:ext uri="{BB962C8B-B14F-4D97-AF65-F5344CB8AC3E}">
        <p14:creationId xmlns:p14="http://schemas.microsoft.com/office/powerpoint/2010/main" val="193333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22F93-48EB-F52B-32E9-A3E3268C20B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8D9BE30-8C2E-EF33-D26B-7886F93F7AB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D90DED8-0D37-A79D-BB3B-0C68351EC423}"/>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A14545E0-9A10-E8AD-4207-D5A38145BBBB}"/>
              </a:ext>
            </a:extLst>
          </p:cNvPr>
          <p:cNvSpPr>
            <a:spLocks noGrp="1"/>
          </p:cNvSpPr>
          <p:nvPr>
            <p:ph type="sldNum" sz="quarter" idx="5"/>
          </p:nvPr>
        </p:nvSpPr>
        <p:spPr/>
        <p:txBody>
          <a:bodyPr/>
          <a:lstStyle/>
          <a:p>
            <a:fld id="{5F3C32F5-EDFA-45E7-8D24-13B2F7DB41CD}" type="slidenum">
              <a:rPr lang="en-US" smtClean="0"/>
              <a:t>13</a:t>
            </a:fld>
            <a:endParaRPr lang="en-US"/>
          </a:p>
        </p:txBody>
      </p:sp>
    </p:spTree>
    <p:extLst>
      <p:ext uri="{BB962C8B-B14F-4D97-AF65-F5344CB8AC3E}">
        <p14:creationId xmlns:p14="http://schemas.microsoft.com/office/powerpoint/2010/main" val="2496458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40B3C-6BB7-1E1C-FA82-950329ACA24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475C95F-C964-3764-73E7-6296D1DAE19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8B4794B-57AF-42A5-9728-E174930E8446}"/>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ADA00D2E-15DF-DF67-C10E-EBB0123F2644}"/>
              </a:ext>
            </a:extLst>
          </p:cNvPr>
          <p:cNvSpPr>
            <a:spLocks noGrp="1"/>
          </p:cNvSpPr>
          <p:nvPr>
            <p:ph type="sldNum" sz="quarter" idx="5"/>
          </p:nvPr>
        </p:nvSpPr>
        <p:spPr/>
        <p:txBody>
          <a:bodyPr/>
          <a:lstStyle/>
          <a:p>
            <a:fld id="{5F3C32F5-EDFA-45E7-8D24-13B2F7DB41CD}" type="slidenum">
              <a:rPr lang="en-US" smtClean="0"/>
              <a:t>14</a:t>
            </a:fld>
            <a:endParaRPr lang="en-US"/>
          </a:p>
        </p:txBody>
      </p:sp>
    </p:spTree>
    <p:extLst>
      <p:ext uri="{BB962C8B-B14F-4D97-AF65-F5344CB8AC3E}">
        <p14:creationId xmlns:p14="http://schemas.microsoft.com/office/powerpoint/2010/main" val="4031020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0FCDD-61CC-E881-1D0E-68728AC296B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3A0893A-359B-185D-2E13-6B35836494E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DF6CADF-013A-BB4F-3134-9B5FE20E1D41}"/>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2E1022CE-EC92-D8E8-BB89-83DDD44BF1BB}"/>
              </a:ext>
            </a:extLst>
          </p:cNvPr>
          <p:cNvSpPr>
            <a:spLocks noGrp="1"/>
          </p:cNvSpPr>
          <p:nvPr>
            <p:ph type="sldNum" sz="quarter" idx="5"/>
          </p:nvPr>
        </p:nvSpPr>
        <p:spPr/>
        <p:txBody>
          <a:bodyPr/>
          <a:lstStyle/>
          <a:p>
            <a:fld id="{5F3C32F5-EDFA-45E7-8D24-13B2F7DB41CD}" type="slidenum">
              <a:rPr lang="en-US" smtClean="0"/>
              <a:t>15</a:t>
            </a:fld>
            <a:endParaRPr lang="en-US"/>
          </a:p>
        </p:txBody>
      </p:sp>
    </p:spTree>
    <p:extLst>
      <p:ext uri="{BB962C8B-B14F-4D97-AF65-F5344CB8AC3E}">
        <p14:creationId xmlns:p14="http://schemas.microsoft.com/office/powerpoint/2010/main" val="386595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27E23-F323-DBED-CF9D-A24DF345240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3EA6096-3DCB-E948-10F2-04DAB099CD7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833450C-7624-6EDA-0937-4121EA69B9AE}"/>
              </a:ext>
            </a:extLst>
          </p:cNvPr>
          <p:cNvSpPr>
            <a:spLocks noGrp="1"/>
          </p:cNvSpPr>
          <p:nvPr>
            <p:ph type="body" idx="1"/>
          </p:nvPr>
        </p:nvSpPr>
        <p:spPr/>
        <p:txBody>
          <a:bodyPr/>
          <a:lstStyle/>
          <a:p>
            <a:r>
              <a:rPr lang="da-DK" dirty="0"/>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35541A52-4E8E-BFDF-ED7B-86C74F6E1BCA}"/>
              </a:ext>
            </a:extLst>
          </p:cNvPr>
          <p:cNvSpPr>
            <a:spLocks noGrp="1"/>
          </p:cNvSpPr>
          <p:nvPr>
            <p:ph type="sldNum" sz="quarter" idx="5"/>
          </p:nvPr>
        </p:nvSpPr>
        <p:spPr/>
        <p:txBody>
          <a:bodyPr/>
          <a:lstStyle/>
          <a:p>
            <a:fld id="{5F3C32F5-EDFA-45E7-8D24-13B2F7DB41CD}" type="slidenum">
              <a:rPr lang="en-US" smtClean="0"/>
              <a:t>16</a:t>
            </a:fld>
            <a:endParaRPr lang="en-US"/>
          </a:p>
        </p:txBody>
      </p:sp>
    </p:spTree>
    <p:extLst>
      <p:ext uri="{BB962C8B-B14F-4D97-AF65-F5344CB8AC3E}">
        <p14:creationId xmlns:p14="http://schemas.microsoft.com/office/powerpoint/2010/main" val="19223407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D3144-5151-AC19-F29D-BBCC33E7658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1205374-6F56-03C3-631E-0B9C5B20D1B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AC22F1C-BBB4-C05F-ED18-6381D0E95E03}"/>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61804FAD-4414-8416-DC88-3EA140143033}"/>
              </a:ext>
            </a:extLst>
          </p:cNvPr>
          <p:cNvSpPr>
            <a:spLocks noGrp="1"/>
          </p:cNvSpPr>
          <p:nvPr>
            <p:ph type="sldNum" sz="quarter" idx="5"/>
          </p:nvPr>
        </p:nvSpPr>
        <p:spPr/>
        <p:txBody>
          <a:bodyPr/>
          <a:lstStyle/>
          <a:p>
            <a:fld id="{5F3C32F5-EDFA-45E7-8D24-13B2F7DB41CD}" type="slidenum">
              <a:rPr lang="en-US" smtClean="0"/>
              <a:t>17</a:t>
            </a:fld>
            <a:endParaRPr lang="en-US"/>
          </a:p>
        </p:txBody>
      </p:sp>
    </p:spTree>
    <p:extLst>
      <p:ext uri="{BB962C8B-B14F-4D97-AF65-F5344CB8AC3E}">
        <p14:creationId xmlns:p14="http://schemas.microsoft.com/office/powerpoint/2010/main" val="2267809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C8BFB-689F-849E-9D7A-90E8527A912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3F23430-E39D-C5BB-0769-A84C5EB793D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5451F53-E6F2-D0BC-21B4-CB2591EC3AAF}"/>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890B6384-EE21-9464-8D34-547FA857C81A}"/>
              </a:ext>
            </a:extLst>
          </p:cNvPr>
          <p:cNvSpPr>
            <a:spLocks noGrp="1"/>
          </p:cNvSpPr>
          <p:nvPr>
            <p:ph type="sldNum" sz="quarter" idx="5"/>
          </p:nvPr>
        </p:nvSpPr>
        <p:spPr/>
        <p:txBody>
          <a:bodyPr/>
          <a:lstStyle/>
          <a:p>
            <a:fld id="{5F3C32F5-EDFA-45E7-8D24-13B2F7DB41CD}" type="slidenum">
              <a:rPr lang="en-US" smtClean="0"/>
              <a:t>18</a:t>
            </a:fld>
            <a:endParaRPr lang="en-US"/>
          </a:p>
        </p:txBody>
      </p:sp>
    </p:spTree>
    <p:extLst>
      <p:ext uri="{BB962C8B-B14F-4D97-AF65-F5344CB8AC3E}">
        <p14:creationId xmlns:p14="http://schemas.microsoft.com/office/powerpoint/2010/main" val="114972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C4D1A-3E04-A7BB-C1C0-B7BDC163E4A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C12CEF8-E155-CA0C-710B-4CBE9FD2892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ADADE91-BFCF-4D30-1D6D-3CB72BC1B69E}"/>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16686830-592B-8287-B990-4DF1D07FF125}"/>
              </a:ext>
            </a:extLst>
          </p:cNvPr>
          <p:cNvSpPr>
            <a:spLocks noGrp="1"/>
          </p:cNvSpPr>
          <p:nvPr>
            <p:ph type="sldNum" sz="quarter" idx="5"/>
          </p:nvPr>
        </p:nvSpPr>
        <p:spPr/>
        <p:txBody>
          <a:bodyPr/>
          <a:lstStyle/>
          <a:p>
            <a:fld id="{5F3C32F5-EDFA-45E7-8D24-13B2F7DB41CD}" type="slidenum">
              <a:rPr lang="en-US" smtClean="0"/>
              <a:t>19</a:t>
            </a:fld>
            <a:endParaRPr lang="en-US"/>
          </a:p>
        </p:txBody>
      </p:sp>
    </p:spTree>
    <p:extLst>
      <p:ext uri="{BB962C8B-B14F-4D97-AF65-F5344CB8AC3E}">
        <p14:creationId xmlns:p14="http://schemas.microsoft.com/office/powerpoint/2010/main" val="3278714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75698-6747-09E8-E94D-E675BAED47C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A0F81E8-7C58-B3A0-3FE9-342FB370E1B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C5C1775-CC45-446C-CFC7-A2347939958B}"/>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CA41A391-46CB-E450-A63A-E3FAB5395630}"/>
              </a:ext>
            </a:extLst>
          </p:cNvPr>
          <p:cNvSpPr>
            <a:spLocks noGrp="1"/>
          </p:cNvSpPr>
          <p:nvPr>
            <p:ph type="sldNum" sz="quarter" idx="5"/>
          </p:nvPr>
        </p:nvSpPr>
        <p:spPr/>
        <p:txBody>
          <a:bodyPr/>
          <a:lstStyle/>
          <a:p>
            <a:fld id="{5F3C32F5-EDFA-45E7-8D24-13B2F7DB41CD}" type="slidenum">
              <a:rPr lang="en-US" smtClean="0"/>
              <a:t>2</a:t>
            </a:fld>
            <a:endParaRPr lang="en-US"/>
          </a:p>
        </p:txBody>
      </p:sp>
    </p:spTree>
    <p:extLst>
      <p:ext uri="{BB962C8B-B14F-4D97-AF65-F5344CB8AC3E}">
        <p14:creationId xmlns:p14="http://schemas.microsoft.com/office/powerpoint/2010/main" val="22847027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33774-16B0-D686-FD6B-EA04C192821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52D5FE2-7038-7A43-E298-FCAFB0B2241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369E9F1-7D49-7D6D-5BA1-B0F21833DBD8}"/>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F150A0BD-9AD8-BA02-7DC8-C9D3C6440EAA}"/>
              </a:ext>
            </a:extLst>
          </p:cNvPr>
          <p:cNvSpPr>
            <a:spLocks noGrp="1"/>
          </p:cNvSpPr>
          <p:nvPr>
            <p:ph type="sldNum" sz="quarter" idx="5"/>
          </p:nvPr>
        </p:nvSpPr>
        <p:spPr/>
        <p:txBody>
          <a:bodyPr/>
          <a:lstStyle/>
          <a:p>
            <a:fld id="{5F3C32F5-EDFA-45E7-8D24-13B2F7DB41CD}" type="slidenum">
              <a:rPr lang="en-US" smtClean="0"/>
              <a:t>20</a:t>
            </a:fld>
            <a:endParaRPr lang="en-US"/>
          </a:p>
        </p:txBody>
      </p:sp>
    </p:spTree>
    <p:extLst>
      <p:ext uri="{BB962C8B-B14F-4D97-AF65-F5344CB8AC3E}">
        <p14:creationId xmlns:p14="http://schemas.microsoft.com/office/powerpoint/2010/main" val="20299945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CEE71-75B6-61AE-2A48-64E2A1D68AA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FB85274-ADF0-C939-2372-2EA8DE283D5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68D619F-5886-9A9F-2957-F2352F813A01}"/>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D2BECBEF-60FE-A494-0895-E0B29B1BD8DF}"/>
              </a:ext>
            </a:extLst>
          </p:cNvPr>
          <p:cNvSpPr>
            <a:spLocks noGrp="1"/>
          </p:cNvSpPr>
          <p:nvPr>
            <p:ph type="sldNum" sz="quarter" idx="5"/>
          </p:nvPr>
        </p:nvSpPr>
        <p:spPr/>
        <p:txBody>
          <a:bodyPr/>
          <a:lstStyle/>
          <a:p>
            <a:fld id="{5F3C32F5-EDFA-45E7-8D24-13B2F7DB41CD}" type="slidenum">
              <a:rPr lang="en-US" smtClean="0"/>
              <a:t>21</a:t>
            </a:fld>
            <a:endParaRPr lang="en-US"/>
          </a:p>
        </p:txBody>
      </p:sp>
    </p:spTree>
    <p:extLst>
      <p:ext uri="{BB962C8B-B14F-4D97-AF65-F5344CB8AC3E}">
        <p14:creationId xmlns:p14="http://schemas.microsoft.com/office/powerpoint/2010/main" val="1744165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BA7BA-45CB-2723-2BC7-2855A920E7A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555891F-4198-FACD-EFDD-99C2D6795C1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8C78235-5260-7228-808A-37E7EF31AE07}"/>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8525A8D8-A5FB-C3D3-CDFE-D20AFDA0DF52}"/>
              </a:ext>
            </a:extLst>
          </p:cNvPr>
          <p:cNvSpPr>
            <a:spLocks noGrp="1"/>
          </p:cNvSpPr>
          <p:nvPr>
            <p:ph type="sldNum" sz="quarter" idx="5"/>
          </p:nvPr>
        </p:nvSpPr>
        <p:spPr/>
        <p:txBody>
          <a:bodyPr/>
          <a:lstStyle/>
          <a:p>
            <a:fld id="{5F3C32F5-EDFA-45E7-8D24-13B2F7DB41CD}" type="slidenum">
              <a:rPr lang="en-US" smtClean="0"/>
              <a:t>22</a:t>
            </a:fld>
            <a:endParaRPr lang="en-US"/>
          </a:p>
        </p:txBody>
      </p:sp>
    </p:spTree>
    <p:extLst>
      <p:ext uri="{BB962C8B-B14F-4D97-AF65-F5344CB8AC3E}">
        <p14:creationId xmlns:p14="http://schemas.microsoft.com/office/powerpoint/2010/main" val="177691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5D86A-ADF2-55C2-9D56-C7D86AF75FE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C5417CA-49E9-C3C3-41C4-60EAAFE4029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BA85E6A-AC0B-818E-251E-87E5B2E7229F}"/>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B8029E86-F75F-435F-A95B-A61F98371937}"/>
              </a:ext>
            </a:extLst>
          </p:cNvPr>
          <p:cNvSpPr>
            <a:spLocks noGrp="1"/>
          </p:cNvSpPr>
          <p:nvPr>
            <p:ph type="sldNum" sz="quarter" idx="5"/>
          </p:nvPr>
        </p:nvSpPr>
        <p:spPr/>
        <p:txBody>
          <a:bodyPr/>
          <a:lstStyle/>
          <a:p>
            <a:fld id="{5F3C32F5-EDFA-45E7-8D24-13B2F7DB41CD}" type="slidenum">
              <a:rPr lang="en-US" smtClean="0"/>
              <a:t>23</a:t>
            </a:fld>
            <a:endParaRPr lang="en-US"/>
          </a:p>
        </p:txBody>
      </p:sp>
    </p:spTree>
    <p:extLst>
      <p:ext uri="{BB962C8B-B14F-4D97-AF65-F5344CB8AC3E}">
        <p14:creationId xmlns:p14="http://schemas.microsoft.com/office/powerpoint/2010/main" val="53865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74F3E-AEBD-F139-7F8A-1AC4730097D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9BE8BC0-935C-2C1C-EAF9-5E81E0972E2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E3C45D6-ACF9-B86B-709C-88F98CBFC74B}"/>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97E8DE68-8786-71F9-E3BE-315D16018069}"/>
              </a:ext>
            </a:extLst>
          </p:cNvPr>
          <p:cNvSpPr>
            <a:spLocks noGrp="1"/>
          </p:cNvSpPr>
          <p:nvPr>
            <p:ph type="sldNum" sz="quarter" idx="5"/>
          </p:nvPr>
        </p:nvSpPr>
        <p:spPr/>
        <p:txBody>
          <a:bodyPr/>
          <a:lstStyle/>
          <a:p>
            <a:fld id="{5F3C32F5-EDFA-45E7-8D24-13B2F7DB41CD}" type="slidenum">
              <a:rPr lang="en-US" smtClean="0"/>
              <a:t>24</a:t>
            </a:fld>
            <a:endParaRPr lang="en-US"/>
          </a:p>
        </p:txBody>
      </p:sp>
    </p:spTree>
    <p:extLst>
      <p:ext uri="{BB962C8B-B14F-4D97-AF65-F5344CB8AC3E}">
        <p14:creationId xmlns:p14="http://schemas.microsoft.com/office/powerpoint/2010/main" val="19033739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7AA67-702C-5D8B-DA7F-663902858E2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12FACD9-478B-74A3-EEFC-4DA044600CF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140D62F-4C67-A6A7-F0C5-69233476F614}"/>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77E2CB6D-1481-B09A-0189-E1FF413D2A95}"/>
              </a:ext>
            </a:extLst>
          </p:cNvPr>
          <p:cNvSpPr>
            <a:spLocks noGrp="1"/>
          </p:cNvSpPr>
          <p:nvPr>
            <p:ph type="sldNum" sz="quarter" idx="5"/>
          </p:nvPr>
        </p:nvSpPr>
        <p:spPr/>
        <p:txBody>
          <a:bodyPr/>
          <a:lstStyle/>
          <a:p>
            <a:fld id="{5F3C32F5-EDFA-45E7-8D24-13B2F7DB41CD}" type="slidenum">
              <a:rPr lang="en-US" smtClean="0"/>
              <a:t>25</a:t>
            </a:fld>
            <a:endParaRPr lang="en-US"/>
          </a:p>
        </p:txBody>
      </p:sp>
    </p:spTree>
    <p:extLst>
      <p:ext uri="{BB962C8B-B14F-4D97-AF65-F5344CB8AC3E}">
        <p14:creationId xmlns:p14="http://schemas.microsoft.com/office/powerpoint/2010/main" val="30002136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495D5-6026-576F-87BD-1968BBF4485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64006C3-297D-0559-6E1E-BAF40B7D603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E1B89EF-CA4B-14B5-8094-ED36498074D7}"/>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A3589804-D665-5FDC-3F90-F13C08300119}"/>
              </a:ext>
            </a:extLst>
          </p:cNvPr>
          <p:cNvSpPr>
            <a:spLocks noGrp="1"/>
          </p:cNvSpPr>
          <p:nvPr>
            <p:ph type="sldNum" sz="quarter" idx="5"/>
          </p:nvPr>
        </p:nvSpPr>
        <p:spPr/>
        <p:txBody>
          <a:bodyPr/>
          <a:lstStyle/>
          <a:p>
            <a:fld id="{5F3C32F5-EDFA-45E7-8D24-13B2F7DB41CD}" type="slidenum">
              <a:rPr lang="en-US" smtClean="0"/>
              <a:t>26</a:t>
            </a:fld>
            <a:endParaRPr lang="en-US"/>
          </a:p>
        </p:txBody>
      </p:sp>
    </p:spTree>
    <p:extLst>
      <p:ext uri="{BB962C8B-B14F-4D97-AF65-F5344CB8AC3E}">
        <p14:creationId xmlns:p14="http://schemas.microsoft.com/office/powerpoint/2010/main" val="22157552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39F6F-D20F-214E-C814-9BBA9D71609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326BF90-044D-0506-C6F8-5E0440AA810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54788EA-FDC0-9568-970F-6CC0011A9026}"/>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EAE4C927-4581-DCF7-99F6-F5E64EFB71DE}"/>
              </a:ext>
            </a:extLst>
          </p:cNvPr>
          <p:cNvSpPr>
            <a:spLocks noGrp="1"/>
          </p:cNvSpPr>
          <p:nvPr>
            <p:ph type="sldNum" sz="quarter" idx="5"/>
          </p:nvPr>
        </p:nvSpPr>
        <p:spPr/>
        <p:txBody>
          <a:bodyPr/>
          <a:lstStyle/>
          <a:p>
            <a:fld id="{5F3C32F5-EDFA-45E7-8D24-13B2F7DB41CD}" type="slidenum">
              <a:rPr lang="en-US" smtClean="0"/>
              <a:t>27</a:t>
            </a:fld>
            <a:endParaRPr lang="en-US"/>
          </a:p>
        </p:txBody>
      </p:sp>
    </p:spTree>
    <p:extLst>
      <p:ext uri="{BB962C8B-B14F-4D97-AF65-F5344CB8AC3E}">
        <p14:creationId xmlns:p14="http://schemas.microsoft.com/office/powerpoint/2010/main" val="958005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8B07C-335C-FB96-DFFC-766E510381B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50BE245-A9DA-C1D1-7BB3-5371E0773E1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85053C2-733A-5A89-942C-100B7473F3C1}"/>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007283F7-C237-7527-AEE9-5B04535E47C8}"/>
              </a:ext>
            </a:extLst>
          </p:cNvPr>
          <p:cNvSpPr>
            <a:spLocks noGrp="1"/>
          </p:cNvSpPr>
          <p:nvPr>
            <p:ph type="sldNum" sz="quarter" idx="5"/>
          </p:nvPr>
        </p:nvSpPr>
        <p:spPr/>
        <p:txBody>
          <a:bodyPr/>
          <a:lstStyle/>
          <a:p>
            <a:fld id="{5F3C32F5-EDFA-45E7-8D24-13B2F7DB41CD}" type="slidenum">
              <a:rPr lang="en-US" smtClean="0"/>
              <a:t>28</a:t>
            </a:fld>
            <a:endParaRPr lang="en-US"/>
          </a:p>
        </p:txBody>
      </p:sp>
    </p:spTree>
    <p:extLst>
      <p:ext uri="{BB962C8B-B14F-4D97-AF65-F5344CB8AC3E}">
        <p14:creationId xmlns:p14="http://schemas.microsoft.com/office/powerpoint/2010/main" val="3893836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BFE71-7457-A207-34D8-3D13455FE24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F6A4568-3F76-80FC-16D9-487564C015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4D225D6-6D78-E1E5-81E4-8CFD01950D6C}"/>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1F23B39B-BA1F-2C94-879E-8A939886236F}"/>
              </a:ext>
            </a:extLst>
          </p:cNvPr>
          <p:cNvSpPr>
            <a:spLocks noGrp="1"/>
          </p:cNvSpPr>
          <p:nvPr>
            <p:ph type="sldNum" sz="quarter" idx="5"/>
          </p:nvPr>
        </p:nvSpPr>
        <p:spPr/>
        <p:txBody>
          <a:bodyPr/>
          <a:lstStyle/>
          <a:p>
            <a:fld id="{5F3C32F5-EDFA-45E7-8D24-13B2F7DB41CD}" type="slidenum">
              <a:rPr lang="en-US" smtClean="0"/>
              <a:t>29</a:t>
            </a:fld>
            <a:endParaRPr lang="en-US"/>
          </a:p>
        </p:txBody>
      </p:sp>
    </p:spTree>
    <p:extLst>
      <p:ext uri="{BB962C8B-B14F-4D97-AF65-F5344CB8AC3E}">
        <p14:creationId xmlns:p14="http://schemas.microsoft.com/office/powerpoint/2010/main" val="1350417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2463B-1319-FA0C-83ED-C5230163CE0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82CD1DA-A118-E0EE-C136-9C86F8189A4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92B50C3-73B8-BD54-1573-36D8A84195D6}"/>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0384D814-9061-641A-CC30-2987D733F2ED}"/>
              </a:ext>
            </a:extLst>
          </p:cNvPr>
          <p:cNvSpPr>
            <a:spLocks noGrp="1"/>
          </p:cNvSpPr>
          <p:nvPr>
            <p:ph type="sldNum" sz="quarter" idx="5"/>
          </p:nvPr>
        </p:nvSpPr>
        <p:spPr/>
        <p:txBody>
          <a:bodyPr/>
          <a:lstStyle/>
          <a:p>
            <a:fld id="{5F3C32F5-EDFA-45E7-8D24-13B2F7DB41CD}" type="slidenum">
              <a:rPr lang="en-US" smtClean="0"/>
              <a:t>3</a:t>
            </a:fld>
            <a:endParaRPr lang="en-US"/>
          </a:p>
        </p:txBody>
      </p:sp>
    </p:spTree>
    <p:extLst>
      <p:ext uri="{BB962C8B-B14F-4D97-AF65-F5344CB8AC3E}">
        <p14:creationId xmlns:p14="http://schemas.microsoft.com/office/powerpoint/2010/main" val="14465188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960C5-6944-82DF-A05C-59BD8E29986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7D41BE6-58A6-11DB-92B4-FB56A21CD51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B8F3312-E07F-457C-C0A2-E6A0306D7F09}"/>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94A2AD56-2458-5949-6623-E6B1174DED75}"/>
              </a:ext>
            </a:extLst>
          </p:cNvPr>
          <p:cNvSpPr>
            <a:spLocks noGrp="1"/>
          </p:cNvSpPr>
          <p:nvPr>
            <p:ph type="sldNum" sz="quarter" idx="5"/>
          </p:nvPr>
        </p:nvSpPr>
        <p:spPr/>
        <p:txBody>
          <a:bodyPr/>
          <a:lstStyle/>
          <a:p>
            <a:fld id="{5F3C32F5-EDFA-45E7-8D24-13B2F7DB41CD}" type="slidenum">
              <a:rPr lang="en-US" smtClean="0"/>
              <a:t>30</a:t>
            </a:fld>
            <a:endParaRPr lang="en-US"/>
          </a:p>
        </p:txBody>
      </p:sp>
    </p:spTree>
    <p:extLst>
      <p:ext uri="{BB962C8B-B14F-4D97-AF65-F5344CB8AC3E}">
        <p14:creationId xmlns:p14="http://schemas.microsoft.com/office/powerpoint/2010/main" val="4283820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0AF9A-78BD-77AF-46D0-C5AD583D76E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41E2237-7B6C-DAB8-9F0A-03B2FD34DB2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6081897-3FA9-8CD2-6A71-4CAEC54753E0}"/>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FB4EA7A5-96F9-B2CE-007F-0A1A7B5E81F3}"/>
              </a:ext>
            </a:extLst>
          </p:cNvPr>
          <p:cNvSpPr>
            <a:spLocks noGrp="1"/>
          </p:cNvSpPr>
          <p:nvPr>
            <p:ph type="sldNum" sz="quarter" idx="5"/>
          </p:nvPr>
        </p:nvSpPr>
        <p:spPr/>
        <p:txBody>
          <a:bodyPr/>
          <a:lstStyle/>
          <a:p>
            <a:fld id="{5F3C32F5-EDFA-45E7-8D24-13B2F7DB41CD}" type="slidenum">
              <a:rPr lang="en-US" smtClean="0"/>
              <a:t>31</a:t>
            </a:fld>
            <a:endParaRPr lang="en-US"/>
          </a:p>
        </p:txBody>
      </p:sp>
    </p:spTree>
    <p:extLst>
      <p:ext uri="{BB962C8B-B14F-4D97-AF65-F5344CB8AC3E}">
        <p14:creationId xmlns:p14="http://schemas.microsoft.com/office/powerpoint/2010/main" val="16086929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2D254-0F4A-C6B3-F946-786A0DB0B50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5B62B90-3DD1-412F-9007-19C252989F9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AAF5F07-4682-2DBA-4BBD-83CAD6E6ECC8}"/>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7464E7C9-FF8F-0732-D087-79A82BA54652}"/>
              </a:ext>
            </a:extLst>
          </p:cNvPr>
          <p:cNvSpPr>
            <a:spLocks noGrp="1"/>
          </p:cNvSpPr>
          <p:nvPr>
            <p:ph type="sldNum" sz="quarter" idx="5"/>
          </p:nvPr>
        </p:nvSpPr>
        <p:spPr/>
        <p:txBody>
          <a:bodyPr/>
          <a:lstStyle/>
          <a:p>
            <a:fld id="{5F3C32F5-EDFA-45E7-8D24-13B2F7DB41CD}" type="slidenum">
              <a:rPr lang="en-US" smtClean="0"/>
              <a:t>32</a:t>
            </a:fld>
            <a:endParaRPr lang="en-US"/>
          </a:p>
        </p:txBody>
      </p:sp>
    </p:spTree>
    <p:extLst>
      <p:ext uri="{BB962C8B-B14F-4D97-AF65-F5344CB8AC3E}">
        <p14:creationId xmlns:p14="http://schemas.microsoft.com/office/powerpoint/2010/main" val="37314983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50694-A467-2DB9-FBF6-1A7406595B6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349B4ED-208C-3843-F597-856D71D788C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D886C7D-0F42-05E9-D822-D01E0B2629A9}"/>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FFDD1E18-D7A3-70E4-C07A-0641EBA6E335}"/>
              </a:ext>
            </a:extLst>
          </p:cNvPr>
          <p:cNvSpPr>
            <a:spLocks noGrp="1"/>
          </p:cNvSpPr>
          <p:nvPr>
            <p:ph type="sldNum" sz="quarter" idx="5"/>
          </p:nvPr>
        </p:nvSpPr>
        <p:spPr/>
        <p:txBody>
          <a:bodyPr/>
          <a:lstStyle/>
          <a:p>
            <a:fld id="{5F3C32F5-EDFA-45E7-8D24-13B2F7DB41CD}" type="slidenum">
              <a:rPr lang="en-US" smtClean="0"/>
              <a:t>33</a:t>
            </a:fld>
            <a:endParaRPr lang="en-US"/>
          </a:p>
        </p:txBody>
      </p:sp>
    </p:spTree>
    <p:extLst>
      <p:ext uri="{BB962C8B-B14F-4D97-AF65-F5344CB8AC3E}">
        <p14:creationId xmlns:p14="http://schemas.microsoft.com/office/powerpoint/2010/main" val="1866910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13064-6558-317C-602B-6C740AD662C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333FB35-537E-F94F-C66F-6115F9FADD7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A59EEDF-8D3A-6191-1CD1-59D18CBA772A}"/>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A62BB762-D3EA-334D-B5A8-2A7726F4778B}"/>
              </a:ext>
            </a:extLst>
          </p:cNvPr>
          <p:cNvSpPr>
            <a:spLocks noGrp="1"/>
          </p:cNvSpPr>
          <p:nvPr>
            <p:ph type="sldNum" sz="quarter" idx="5"/>
          </p:nvPr>
        </p:nvSpPr>
        <p:spPr/>
        <p:txBody>
          <a:bodyPr/>
          <a:lstStyle/>
          <a:p>
            <a:fld id="{5F3C32F5-EDFA-45E7-8D24-13B2F7DB41CD}" type="slidenum">
              <a:rPr lang="en-US" smtClean="0"/>
              <a:t>34</a:t>
            </a:fld>
            <a:endParaRPr lang="en-US"/>
          </a:p>
        </p:txBody>
      </p:sp>
    </p:spTree>
    <p:extLst>
      <p:ext uri="{BB962C8B-B14F-4D97-AF65-F5344CB8AC3E}">
        <p14:creationId xmlns:p14="http://schemas.microsoft.com/office/powerpoint/2010/main" val="3823163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754D5-50C0-F190-EDDB-038842CCD3D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5C374D2-8884-79C9-F1CD-95A7AF77438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5247FAE-D7AD-CDE2-26C3-F72AF11F1CDD}"/>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26667379-69BB-BCD6-75DA-6BFC42C3A8A2}"/>
              </a:ext>
            </a:extLst>
          </p:cNvPr>
          <p:cNvSpPr>
            <a:spLocks noGrp="1"/>
          </p:cNvSpPr>
          <p:nvPr>
            <p:ph type="sldNum" sz="quarter" idx="5"/>
          </p:nvPr>
        </p:nvSpPr>
        <p:spPr/>
        <p:txBody>
          <a:bodyPr/>
          <a:lstStyle/>
          <a:p>
            <a:fld id="{5F3C32F5-EDFA-45E7-8D24-13B2F7DB41CD}" type="slidenum">
              <a:rPr lang="en-US" smtClean="0"/>
              <a:t>35</a:t>
            </a:fld>
            <a:endParaRPr lang="en-US"/>
          </a:p>
        </p:txBody>
      </p:sp>
    </p:spTree>
    <p:extLst>
      <p:ext uri="{BB962C8B-B14F-4D97-AF65-F5344CB8AC3E}">
        <p14:creationId xmlns:p14="http://schemas.microsoft.com/office/powerpoint/2010/main" val="3905442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1B0B1-6DFE-182D-2E9F-DBE564F1317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0EF3AA1-58BE-793D-A7AB-E1AC714FE26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27771C2-3B67-1443-619F-5242C566213E}"/>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8E08BC56-0614-3869-B30C-CACF6A9E2ADB}"/>
              </a:ext>
            </a:extLst>
          </p:cNvPr>
          <p:cNvSpPr>
            <a:spLocks noGrp="1"/>
          </p:cNvSpPr>
          <p:nvPr>
            <p:ph type="sldNum" sz="quarter" idx="5"/>
          </p:nvPr>
        </p:nvSpPr>
        <p:spPr/>
        <p:txBody>
          <a:bodyPr/>
          <a:lstStyle/>
          <a:p>
            <a:fld id="{5F3C32F5-EDFA-45E7-8D24-13B2F7DB41CD}" type="slidenum">
              <a:rPr lang="en-US" smtClean="0"/>
              <a:t>36</a:t>
            </a:fld>
            <a:endParaRPr lang="en-US"/>
          </a:p>
        </p:txBody>
      </p:sp>
    </p:spTree>
    <p:extLst>
      <p:ext uri="{BB962C8B-B14F-4D97-AF65-F5344CB8AC3E}">
        <p14:creationId xmlns:p14="http://schemas.microsoft.com/office/powerpoint/2010/main" val="402980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B92F9-8780-C386-8070-21672224EF2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88694B7-CB7C-AE04-86BD-EBB092AD34A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5337468-6B60-F089-0A90-95B779656535}"/>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F75D8B20-A06C-80D3-014F-760065E1BE6A}"/>
              </a:ext>
            </a:extLst>
          </p:cNvPr>
          <p:cNvSpPr>
            <a:spLocks noGrp="1"/>
          </p:cNvSpPr>
          <p:nvPr>
            <p:ph type="sldNum" sz="quarter" idx="5"/>
          </p:nvPr>
        </p:nvSpPr>
        <p:spPr/>
        <p:txBody>
          <a:bodyPr/>
          <a:lstStyle/>
          <a:p>
            <a:fld id="{5F3C32F5-EDFA-45E7-8D24-13B2F7DB41CD}" type="slidenum">
              <a:rPr lang="en-US" smtClean="0"/>
              <a:t>37</a:t>
            </a:fld>
            <a:endParaRPr lang="en-US"/>
          </a:p>
        </p:txBody>
      </p:sp>
    </p:spTree>
    <p:extLst>
      <p:ext uri="{BB962C8B-B14F-4D97-AF65-F5344CB8AC3E}">
        <p14:creationId xmlns:p14="http://schemas.microsoft.com/office/powerpoint/2010/main" val="13752896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04746-020E-A066-3F7D-AE9D3F28DE3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69CDD5F-8299-6D4D-F55A-073ECA1B985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57AAEF6-FB93-F750-0016-139AE73F404B}"/>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E661F08F-4D7A-540B-ABC6-32D4A3C0540F}"/>
              </a:ext>
            </a:extLst>
          </p:cNvPr>
          <p:cNvSpPr>
            <a:spLocks noGrp="1"/>
          </p:cNvSpPr>
          <p:nvPr>
            <p:ph type="sldNum" sz="quarter" idx="5"/>
          </p:nvPr>
        </p:nvSpPr>
        <p:spPr/>
        <p:txBody>
          <a:bodyPr/>
          <a:lstStyle/>
          <a:p>
            <a:fld id="{5F3C32F5-EDFA-45E7-8D24-13B2F7DB41CD}" type="slidenum">
              <a:rPr lang="en-US" smtClean="0"/>
              <a:t>38</a:t>
            </a:fld>
            <a:endParaRPr lang="en-US"/>
          </a:p>
        </p:txBody>
      </p:sp>
    </p:spTree>
    <p:extLst>
      <p:ext uri="{BB962C8B-B14F-4D97-AF65-F5344CB8AC3E}">
        <p14:creationId xmlns:p14="http://schemas.microsoft.com/office/powerpoint/2010/main" val="30178370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6DDA9-4922-9C16-53B5-F22D1FE7F38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94DE61B-EAF7-1F52-EE7F-4469E2A2073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48F3872-5310-9BA3-D74B-8CE5564AA76D}"/>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100439B8-1697-ECBE-9D81-C0DB57772BD7}"/>
              </a:ext>
            </a:extLst>
          </p:cNvPr>
          <p:cNvSpPr>
            <a:spLocks noGrp="1"/>
          </p:cNvSpPr>
          <p:nvPr>
            <p:ph type="sldNum" sz="quarter" idx="5"/>
          </p:nvPr>
        </p:nvSpPr>
        <p:spPr/>
        <p:txBody>
          <a:bodyPr/>
          <a:lstStyle/>
          <a:p>
            <a:fld id="{5F3C32F5-EDFA-45E7-8D24-13B2F7DB41CD}" type="slidenum">
              <a:rPr lang="en-US" smtClean="0"/>
              <a:t>39</a:t>
            </a:fld>
            <a:endParaRPr lang="en-US"/>
          </a:p>
        </p:txBody>
      </p:sp>
    </p:spTree>
    <p:extLst>
      <p:ext uri="{BB962C8B-B14F-4D97-AF65-F5344CB8AC3E}">
        <p14:creationId xmlns:p14="http://schemas.microsoft.com/office/powerpoint/2010/main" val="4292467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F6482-50E9-6D90-FAE2-CDB82192D93A}"/>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F2E9903-F45E-125F-B2C9-B0607C47C00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310DBEE-12CA-9B69-C0CA-58AFF77D707C}"/>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DEB6E96C-40C6-CD0B-C90E-EAF3B9ED9664}"/>
              </a:ext>
            </a:extLst>
          </p:cNvPr>
          <p:cNvSpPr>
            <a:spLocks noGrp="1"/>
          </p:cNvSpPr>
          <p:nvPr>
            <p:ph type="sldNum" sz="quarter" idx="5"/>
          </p:nvPr>
        </p:nvSpPr>
        <p:spPr/>
        <p:txBody>
          <a:bodyPr/>
          <a:lstStyle/>
          <a:p>
            <a:fld id="{5F3C32F5-EDFA-45E7-8D24-13B2F7DB41CD}" type="slidenum">
              <a:rPr lang="en-US" smtClean="0"/>
              <a:t>4</a:t>
            </a:fld>
            <a:endParaRPr lang="en-US"/>
          </a:p>
        </p:txBody>
      </p:sp>
    </p:spTree>
    <p:extLst>
      <p:ext uri="{BB962C8B-B14F-4D97-AF65-F5344CB8AC3E}">
        <p14:creationId xmlns:p14="http://schemas.microsoft.com/office/powerpoint/2010/main" val="3725107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0CE6E-7F83-33EE-7588-7207EEAD1DE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D987A92-F32B-91F2-ACBD-7BDD31063C5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5EAC92F-B72A-31D4-5124-69E6887D16D5}"/>
              </a:ext>
            </a:extLst>
          </p:cNvPr>
          <p:cNvSpPr>
            <a:spLocks noGrp="1"/>
          </p:cNvSpPr>
          <p:nvPr>
            <p:ph type="body" idx="1"/>
          </p:nvPr>
        </p:nvSpPr>
        <p:spPr/>
        <p:txBody>
          <a:bodyPr/>
          <a:lstStyle/>
          <a:p>
            <a:r>
              <a:rPr lang="da-DK"/>
              <a:t>Billedkilde: Microsoft 365-indholdsbibliotek
Agenda-genren bruges ofte til planlægning og strukturering af møder eller begivenheder. </a:t>
            </a:r>
            <a:r>
              <a:rPr lang="da-DK" dirty="0"/>
              <a:t>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8D210E71-D229-8F7C-8FCA-087FFA331537}"/>
              </a:ext>
            </a:extLst>
          </p:cNvPr>
          <p:cNvSpPr>
            <a:spLocks noGrp="1"/>
          </p:cNvSpPr>
          <p:nvPr>
            <p:ph type="sldNum" sz="quarter" idx="5"/>
          </p:nvPr>
        </p:nvSpPr>
        <p:spPr/>
        <p:txBody>
          <a:bodyPr/>
          <a:lstStyle/>
          <a:p>
            <a:fld id="{5F3C32F5-EDFA-45E7-8D24-13B2F7DB41CD}" type="slidenum">
              <a:rPr lang="en-US" smtClean="0"/>
              <a:t>40</a:t>
            </a:fld>
            <a:endParaRPr lang="en-US"/>
          </a:p>
        </p:txBody>
      </p:sp>
    </p:spTree>
    <p:extLst>
      <p:ext uri="{BB962C8B-B14F-4D97-AF65-F5344CB8AC3E}">
        <p14:creationId xmlns:p14="http://schemas.microsoft.com/office/powerpoint/2010/main" val="16128921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73DD6-7B02-3F10-2E66-F06213F4EC2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F80D85E-22B8-E78B-44FD-169146DDC9B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6960E62-BFA3-CFFA-346F-CB8D52136D4E}"/>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069584EC-ECFE-E3FF-1F7E-A1D9F78CB410}"/>
              </a:ext>
            </a:extLst>
          </p:cNvPr>
          <p:cNvSpPr>
            <a:spLocks noGrp="1"/>
          </p:cNvSpPr>
          <p:nvPr>
            <p:ph type="sldNum" sz="quarter" idx="5"/>
          </p:nvPr>
        </p:nvSpPr>
        <p:spPr/>
        <p:txBody>
          <a:bodyPr/>
          <a:lstStyle/>
          <a:p>
            <a:fld id="{5F3C32F5-EDFA-45E7-8D24-13B2F7DB41CD}" type="slidenum">
              <a:rPr lang="en-US" smtClean="0"/>
              <a:t>41</a:t>
            </a:fld>
            <a:endParaRPr lang="en-US"/>
          </a:p>
        </p:txBody>
      </p:sp>
    </p:spTree>
    <p:extLst>
      <p:ext uri="{BB962C8B-B14F-4D97-AF65-F5344CB8AC3E}">
        <p14:creationId xmlns:p14="http://schemas.microsoft.com/office/powerpoint/2010/main" val="4364164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5D313-73DC-DAC7-7FD9-D7FB115CC33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E491267-70C8-1A03-11D7-CB8D4411D58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15B77A8-3871-3CFB-F37B-3A5C2C19E0D5}"/>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B440BA9F-31AE-F831-B505-D1A15E63C205}"/>
              </a:ext>
            </a:extLst>
          </p:cNvPr>
          <p:cNvSpPr>
            <a:spLocks noGrp="1"/>
          </p:cNvSpPr>
          <p:nvPr>
            <p:ph type="sldNum" sz="quarter" idx="5"/>
          </p:nvPr>
        </p:nvSpPr>
        <p:spPr/>
        <p:txBody>
          <a:bodyPr/>
          <a:lstStyle/>
          <a:p>
            <a:fld id="{5F3C32F5-EDFA-45E7-8D24-13B2F7DB41CD}" type="slidenum">
              <a:rPr lang="en-US" smtClean="0"/>
              <a:t>42</a:t>
            </a:fld>
            <a:endParaRPr lang="en-US"/>
          </a:p>
        </p:txBody>
      </p:sp>
    </p:spTree>
    <p:extLst>
      <p:ext uri="{BB962C8B-B14F-4D97-AF65-F5344CB8AC3E}">
        <p14:creationId xmlns:p14="http://schemas.microsoft.com/office/powerpoint/2010/main" val="3579424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E8FC0-4231-2206-5585-ECAF331EF7D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91476C1-6C89-DB0F-8EBC-693B6C2C162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86EDD9D-EFA4-AF1A-DDC2-CB5654CFEA80}"/>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56452523-0CFF-0371-9A80-6E77D410D82A}"/>
              </a:ext>
            </a:extLst>
          </p:cNvPr>
          <p:cNvSpPr>
            <a:spLocks noGrp="1"/>
          </p:cNvSpPr>
          <p:nvPr>
            <p:ph type="sldNum" sz="quarter" idx="5"/>
          </p:nvPr>
        </p:nvSpPr>
        <p:spPr/>
        <p:txBody>
          <a:bodyPr/>
          <a:lstStyle/>
          <a:p>
            <a:fld id="{5F3C32F5-EDFA-45E7-8D24-13B2F7DB41CD}" type="slidenum">
              <a:rPr lang="en-US" smtClean="0"/>
              <a:t>43</a:t>
            </a:fld>
            <a:endParaRPr lang="en-US"/>
          </a:p>
        </p:txBody>
      </p:sp>
    </p:spTree>
    <p:extLst>
      <p:ext uri="{BB962C8B-B14F-4D97-AF65-F5344CB8AC3E}">
        <p14:creationId xmlns:p14="http://schemas.microsoft.com/office/powerpoint/2010/main" val="23171200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E4B2E-E9DC-4086-D9AC-36DC078ACC1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77D7F72-48EB-B6EB-27ED-CF1B7E43DEE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E17C539-6C25-42BA-1EF8-DBD5E2D7D894}"/>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D82D8049-C0A6-E678-78FB-2794E53E570D}"/>
              </a:ext>
            </a:extLst>
          </p:cNvPr>
          <p:cNvSpPr>
            <a:spLocks noGrp="1"/>
          </p:cNvSpPr>
          <p:nvPr>
            <p:ph type="sldNum" sz="quarter" idx="5"/>
          </p:nvPr>
        </p:nvSpPr>
        <p:spPr/>
        <p:txBody>
          <a:bodyPr/>
          <a:lstStyle/>
          <a:p>
            <a:fld id="{5F3C32F5-EDFA-45E7-8D24-13B2F7DB41CD}" type="slidenum">
              <a:rPr lang="en-US" smtClean="0"/>
              <a:t>44</a:t>
            </a:fld>
            <a:endParaRPr lang="en-US"/>
          </a:p>
        </p:txBody>
      </p:sp>
    </p:spTree>
    <p:extLst>
      <p:ext uri="{BB962C8B-B14F-4D97-AF65-F5344CB8AC3E}">
        <p14:creationId xmlns:p14="http://schemas.microsoft.com/office/powerpoint/2010/main" val="16556637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1375A-E863-C854-93A3-BB3327DE673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3BAC40F-FEE8-D8DA-0EF5-6273018C02E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8B0A1C2-6FE7-247F-9E63-92FFA983F0F5}"/>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5E39BA30-E9F3-CB05-3C31-35881130413C}"/>
              </a:ext>
            </a:extLst>
          </p:cNvPr>
          <p:cNvSpPr>
            <a:spLocks noGrp="1"/>
          </p:cNvSpPr>
          <p:nvPr>
            <p:ph type="sldNum" sz="quarter" idx="5"/>
          </p:nvPr>
        </p:nvSpPr>
        <p:spPr/>
        <p:txBody>
          <a:bodyPr/>
          <a:lstStyle/>
          <a:p>
            <a:fld id="{5F3C32F5-EDFA-45E7-8D24-13B2F7DB41CD}" type="slidenum">
              <a:rPr lang="en-US" smtClean="0"/>
              <a:t>45</a:t>
            </a:fld>
            <a:endParaRPr lang="en-US"/>
          </a:p>
        </p:txBody>
      </p:sp>
    </p:spTree>
    <p:extLst>
      <p:ext uri="{BB962C8B-B14F-4D97-AF65-F5344CB8AC3E}">
        <p14:creationId xmlns:p14="http://schemas.microsoft.com/office/powerpoint/2010/main" val="135344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856EB-EF01-3464-81F0-ABFDDA35AE4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C0EF1B8-9B02-195B-FCCF-A9803CEDB43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03EC6EA-4052-C009-CA05-57ACC48A97A0}"/>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97871C0B-58C8-0611-0FC1-9971194D54A1}"/>
              </a:ext>
            </a:extLst>
          </p:cNvPr>
          <p:cNvSpPr>
            <a:spLocks noGrp="1"/>
          </p:cNvSpPr>
          <p:nvPr>
            <p:ph type="sldNum" sz="quarter" idx="5"/>
          </p:nvPr>
        </p:nvSpPr>
        <p:spPr/>
        <p:txBody>
          <a:bodyPr/>
          <a:lstStyle/>
          <a:p>
            <a:fld id="{5F3C32F5-EDFA-45E7-8D24-13B2F7DB41CD}" type="slidenum">
              <a:rPr lang="en-US" smtClean="0"/>
              <a:t>5</a:t>
            </a:fld>
            <a:endParaRPr lang="en-US"/>
          </a:p>
        </p:txBody>
      </p:sp>
    </p:spTree>
    <p:extLst>
      <p:ext uri="{BB962C8B-B14F-4D97-AF65-F5344CB8AC3E}">
        <p14:creationId xmlns:p14="http://schemas.microsoft.com/office/powerpoint/2010/main" val="2219913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45D9C-0FAA-A8C4-5F5B-F2BF4A16B2C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05E9956-F408-A4B5-4472-AB936E42CDC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131A3DA-D544-93C5-6A4B-316E118CC4C4}"/>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09431C55-0515-C5AC-D640-1A6618DE203F}"/>
              </a:ext>
            </a:extLst>
          </p:cNvPr>
          <p:cNvSpPr>
            <a:spLocks noGrp="1"/>
          </p:cNvSpPr>
          <p:nvPr>
            <p:ph type="sldNum" sz="quarter" idx="5"/>
          </p:nvPr>
        </p:nvSpPr>
        <p:spPr/>
        <p:txBody>
          <a:bodyPr/>
          <a:lstStyle/>
          <a:p>
            <a:fld id="{5F3C32F5-EDFA-45E7-8D24-13B2F7DB41CD}" type="slidenum">
              <a:rPr lang="en-US" smtClean="0"/>
              <a:t>6</a:t>
            </a:fld>
            <a:endParaRPr lang="en-US"/>
          </a:p>
        </p:txBody>
      </p:sp>
    </p:spTree>
    <p:extLst>
      <p:ext uri="{BB962C8B-B14F-4D97-AF65-F5344CB8AC3E}">
        <p14:creationId xmlns:p14="http://schemas.microsoft.com/office/powerpoint/2010/main" val="1422470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A58AA-CD16-20A0-D44D-698687FB468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353A64F-CADB-CD4C-B11B-108C10B4EEE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72FBC3A-BB0E-9C81-D882-C2CDD4EE5DF8}"/>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D4A3DBD1-6861-2042-3E8E-5DD68173507A}"/>
              </a:ext>
            </a:extLst>
          </p:cNvPr>
          <p:cNvSpPr>
            <a:spLocks noGrp="1"/>
          </p:cNvSpPr>
          <p:nvPr>
            <p:ph type="sldNum" sz="quarter" idx="5"/>
          </p:nvPr>
        </p:nvSpPr>
        <p:spPr/>
        <p:txBody>
          <a:bodyPr/>
          <a:lstStyle/>
          <a:p>
            <a:fld id="{5F3C32F5-EDFA-45E7-8D24-13B2F7DB41CD}" type="slidenum">
              <a:rPr lang="en-US" smtClean="0"/>
              <a:t>7</a:t>
            </a:fld>
            <a:endParaRPr lang="en-US"/>
          </a:p>
        </p:txBody>
      </p:sp>
    </p:spTree>
    <p:extLst>
      <p:ext uri="{BB962C8B-B14F-4D97-AF65-F5344CB8AC3E}">
        <p14:creationId xmlns:p14="http://schemas.microsoft.com/office/powerpoint/2010/main" val="3357848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7A7BF-56E8-2305-7CF5-B261E52AEB3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7CD473C-EAC0-4C9C-8BEB-BDC5151C151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D7488F3-9088-6EC6-717A-415DC902A75E}"/>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41EB8D24-A61B-1C37-71A6-0C269BA93C22}"/>
              </a:ext>
            </a:extLst>
          </p:cNvPr>
          <p:cNvSpPr>
            <a:spLocks noGrp="1"/>
          </p:cNvSpPr>
          <p:nvPr>
            <p:ph type="sldNum" sz="quarter" idx="5"/>
          </p:nvPr>
        </p:nvSpPr>
        <p:spPr/>
        <p:txBody>
          <a:bodyPr/>
          <a:lstStyle/>
          <a:p>
            <a:fld id="{5F3C32F5-EDFA-45E7-8D24-13B2F7DB41CD}" type="slidenum">
              <a:rPr lang="en-US" smtClean="0"/>
              <a:t>8</a:t>
            </a:fld>
            <a:endParaRPr lang="en-US"/>
          </a:p>
        </p:txBody>
      </p:sp>
    </p:spTree>
    <p:extLst>
      <p:ext uri="{BB962C8B-B14F-4D97-AF65-F5344CB8AC3E}">
        <p14:creationId xmlns:p14="http://schemas.microsoft.com/office/powerpoint/2010/main" val="1630727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A05C4-F543-2C20-C2E5-4D08B0350F7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9F026C0-97AD-DFEA-2B91-9E9B093BF16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30FB96F-4B1D-B865-E8B7-135C58F32FF8}"/>
              </a:ext>
            </a:extLst>
          </p:cNvPr>
          <p:cNvSpPr>
            <a:spLocks noGrp="1"/>
          </p:cNvSpPr>
          <p:nvPr>
            <p:ph type="body" idx="1"/>
          </p:nvPr>
        </p:nvSpPr>
        <p:spPr/>
        <p:txBody>
          <a:bodyPr/>
          <a:lstStyle/>
          <a:p>
            <a:r>
              <a:rPr lang="da-DK"/>
              <a:t>Billedkilde: Microsoft 365-indholdsbibliotek
Agenda-genren bruges ofte til planlægning og strukturering af møder eller begivenheder. En agenda sikrer, at deltagerne har en klar forventning til forløbet og emnerne, der skal behandles. Den fungerer som et effektivt styringsværktøj, der skaber fokus og fremmer produktivitet i diskussioner og beslutningsprocesser.</a:t>
            </a:r>
          </a:p>
        </p:txBody>
      </p:sp>
      <p:sp>
        <p:nvSpPr>
          <p:cNvPr id="4" name="Pladsholder til slidenummer 3">
            <a:extLst>
              <a:ext uri="{FF2B5EF4-FFF2-40B4-BE49-F238E27FC236}">
                <a16:creationId xmlns:a16="http://schemas.microsoft.com/office/drawing/2014/main" id="{D29AA7CA-ECE1-8E8D-F819-16413E373F2E}"/>
              </a:ext>
            </a:extLst>
          </p:cNvPr>
          <p:cNvSpPr>
            <a:spLocks noGrp="1"/>
          </p:cNvSpPr>
          <p:nvPr>
            <p:ph type="sldNum" sz="quarter" idx="5"/>
          </p:nvPr>
        </p:nvSpPr>
        <p:spPr/>
        <p:txBody>
          <a:bodyPr/>
          <a:lstStyle/>
          <a:p>
            <a:fld id="{5F3C32F5-EDFA-45E7-8D24-13B2F7DB41CD}" type="slidenum">
              <a:rPr lang="en-US" smtClean="0"/>
              <a:t>9</a:t>
            </a:fld>
            <a:endParaRPr lang="en-US"/>
          </a:p>
        </p:txBody>
      </p:sp>
    </p:spTree>
    <p:extLst>
      <p:ext uri="{BB962C8B-B14F-4D97-AF65-F5344CB8AC3E}">
        <p14:creationId xmlns:p14="http://schemas.microsoft.com/office/powerpoint/2010/main" val="31318922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7ADA8-5EDE-4AB9-9FFE-76E45C7138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0353F32-B824-4BAC-9655-24F9603C0F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68DBEDC-841C-4B0D-BC07-C85AEFBCCEF2}"/>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ADC3E6BE-1813-468D-A767-916F6CE8FEC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FBF55C-71B5-4D35-A629-DB37722EE4FD}"/>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431983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D350C-6F8C-4371-9C3F-B005C038CA5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26C102-4DF5-4F6D-83B1-B693619E1A9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EF51E7-BB96-42EE-8970-3156E718D98E}"/>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EA3E7D95-25DC-4A24-86ED-54D8362B944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57F70B8-3985-4103-850E-622913B01030}"/>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1026870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9788DF-4772-4855-8A91-3916FEBDE02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1CD145E-9FEC-4A61-9C41-D51BF1B9C17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ABF540-C882-47AE-9CA6-819BF77700FB}"/>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CB5C143D-0FFE-48F7-A8B5-06649670B0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A02F27-A50B-4D41-A08A-A69FFE26D753}"/>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1206680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28A6F-FC76-4032-9F41-445AA1ADA3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2BAD8E-006D-42A3-BE58-183CB3C19B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F6061C-E249-4C9F-AA72-C7A3508B00D4}"/>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A4807072-6DF1-4064-B896-AFD59B924C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3E9A44-82C2-44AC-9E64-61E24C40C681}"/>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918376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953E-9EA0-44F5-B041-C4CF0DB40A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9712C2-F471-453B-8729-D18C627C59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BCDCD7-6303-45F3-B73E-79734591145B}"/>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4C751786-235A-49F4-8678-F53464E59B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631357-108B-4717-96A3-6F7381782263}"/>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579647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02B5E-624A-4179-8F53-55945E8AFA8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1C43C70-44FC-47EF-9326-B3F7CE80192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2E28EA-B5A9-475C-AB7A-E67FCAC166AE}"/>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A9754E63-C5C6-4765-9939-F51243FF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4CE3B7-A251-45BA-87A3-3B8987A8F4F0}"/>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20906797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2D627-86B7-4D2D-95B9-CABBC69C46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941D05-915E-4021-AAA7-6E5B5A2B6AB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D38220-FFB4-48D6-B2C8-67698805100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F1672A0-0040-4409-9A1F-4ACC48527EB5}"/>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6" name="Footer Placeholder 5">
            <a:extLst>
              <a:ext uri="{FF2B5EF4-FFF2-40B4-BE49-F238E27FC236}">
                <a16:creationId xmlns:a16="http://schemas.microsoft.com/office/drawing/2014/main" id="{A248EB22-EF3C-4292-BE0C-86C3856854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5B9FFD-6CAD-45C5-A25D-226895847082}"/>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1347059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C0C57-7F9A-4B70-9F0C-DA277E90BC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A4C30-9F2A-4547-AB3B-CD8D4A68DED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091841-22CA-43D8-92C1-8157F3C0700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689A86-85FF-4848-9E7C-5F2BFC5D4A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EA30B1-A436-4794-9AFF-B16F88EC251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737EFD-52DA-481F-A400-2065D08A286B}"/>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8" name="Footer Placeholder 7">
            <a:extLst>
              <a:ext uri="{FF2B5EF4-FFF2-40B4-BE49-F238E27FC236}">
                <a16:creationId xmlns:a16="http://schemas.microsoft.com/office/drawing/2014/main" id="{657E3611-9EA0-4AC1-BAD1-56E0B9596D7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2935F4-EA21-42BB-A7FC-7FFB3B30C628}"/>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172356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38871-4721-4945-AD96-834E22D68C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55EB0D-BA6E-45C1-8D3D-A1519BE2830D}"/>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4" name="Footer Placeholder 3">
            <a:extLst>
              <a:ext uri="{FF2B5EF4-FFF2-40B4-BE49-F238E27FC236}">
                <a16:creationId xmlns:a16="http://schemas.microsoft.com/office/drawing/2014/main" id="{CF299DDD-6C11-49B8-9FEB-09CAD2F315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327C05-3F60-4B60-ABE4-77BA6E1EA740}"/>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15779643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E22C63-E52E-45CC-9F80-95CAC671FFE6}"/>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3" name="Footer Placeholder 2">
            <a:extLst>
              <a:ext uri="{FF2B5EF4-FFF2-40B4-BE49-F238E27FC236}">
                <a16:creationId xmlns:a16="http://schemas.microsoft.com/office/drawing/2014/main" id="{75B79742-DD4E-411F-898B-6482370A9A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E6EB2D-D511-44E9-B976-5B7E3F5F1293}"/>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731162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EBC1E-EFDF-4979-B1CB-B8E6205D69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868313E-76F6-4A3A-9B6D-B853389445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9AAE91-94AB-475D-87F5-B317D65A4D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01C02D-4DC6-45B8-A339-83C1FE183E3B}"/>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6" name="Footer Placeholder 5">
            <a:extLst>
              <a:ext uri="{FF2B5EF4-FFF2-40B4-BE49-F238E27FC236}">
                <a16:creationId xmlns:a16="http://schemas.microsoft.com/office/drawing/2014/main" id="{0FB1128F-ABAC-46EA-B397-B4511778ED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95C6DB-26CD-4096-AD1A-36DAF5022ACE}"/>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69810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55797-BA28-4C7F-AEA2-B4A4029C309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BA528F5-7948-4B30-892F-58CB3BDDBF8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E2A5ED3-A20F-4E7C-9B14-C17FBFA44AAA}"/>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7A83ABB5-B546-4B00-B2D9-CB4DF08595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F0AC52-7E05-4179-89A7-7A37514B5278}"/>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22793054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B5F36-482C-4BA1-88CE-CF6A0FA2BD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799EAA5-4F36-4146-BEDD-4457683535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BB6C98-63F6-4DE5-90FE-515A5E0485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43A1C3-337D-44FD-8687-780B5CAE7F88}"/>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6" name="Footer Placeholder 5">
            <a:extLst>
              <a:ext uri="{FF2B5EF4-FFF2-40B4-BE49-F238E27FC236}">
                <a16:creationId xmlns:a16="http://schemas.microsoft.com/office/drawing/2014/main" id="{70FEB7C9-F76A-49C6-B8CF-F9725D43DB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3BC60A-9495-4D7E-83E9-3CFB00A72E71}"/>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3915709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018C3-7DF2-4A7D-9704-245474B044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AC7783-B849-4E91-90A4-EFB91A53B6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FB8E99-A3CB-46C6-A13A-941B4C97D834}"/>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B133C3EA-F8EB-4DE5-8708-065712F09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94A6F-6422-4AD9-B82D-CAAFB472DC6C}"/>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10954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AA1A2C-96FA-4065-AEF9-3262FDEE88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2DEE161-C8E4-428D-94E4-2B6AC27118A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BCAC56-6177-4B82-B1AC-7FA55A53C5BC}"/>
              </a:ext>
            </a:extLst>
          </p:cNvPr>
          <p:cNvSpPr>
            <a:spLocks noGrp="1"/>
          </p:cNvSpPr>
          <p:nvPr>
            <p:ph type="dt" sz="half" idx="10"/>
          </p:nvPr>
        </p:nvSpPr>
        <p:spPr/>
        <p:txBody>
          <a:body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EB91D2EA-0DFC-49DB-A2AA-F304A657EA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77CBAD-4714-4029-850A-E75893D7C6B5}"/>
              </a:ext>
            </a:extLst>
          </p:cNvPr>
          <p:cNvSpPr>
            <a:spLocks noGrp="1"/>
          </p:cNvSpPr>
          <p:nvPr>
            <p:ph type="sldNum" sz="quarter" idx="12"/>
          </p:nvPr>
        </p:nvSpPr>
        <p:spPr/>
        <p:txBody>
          <a:bodyPr/>
          <a:lstStyle/>
          <a:p>
            <a:fld id="{32487D2B-8107-47CA-A585-CB39F83EC43B}" type="slidenum">
              <a:rPr lang="en-US" smtClean="0"/>
              <a:t>‹#›</a:t>
            </a:fld>
            <a:endParaRPr lang="en-US"/>
          </a:p>
        </p:txBody>
      </p:sp>
    </p:spTree>
    <p:extLst>
      <p:ext uri="{BB962C8B-B14F-4D97-AF65-F5344CB8AC3E}">
        <p14:creationId xmlns:p14="http://schemas.microsoft.com/office/powerpoint/2010/main" val="4235004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F3BCE-A1F8-43A5-BEDF-33851534F5D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66570A2-41BA-40F5-AE33-1BCDE42639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034269B-BA34-4749-9445-6DDFF61FF76C}"/>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FB8C8031-7B29-4FCE-B474-C4A2C4EBB7B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22B88F0-31C4-449D-8878-30844CBFBA52}"/>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3980272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40F0E-D96E-4D45-B567-0D2835DCBC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263D088-1E80-488D-B431-E8B29AF9206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7A93CC-8E5F-42CA-B7BE-E50E6F9BE06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7DC26A8-9018-4486-BC19-38A690043701}"/>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6" name="Footer Placeholder 5">
            <a:extLst>
              <a:ext uri="{FF2B5EF4-FFF2-40B4-BE49-F238E27FC236}">
                <a16:creationId xmlns:a16="http://schemas.microsoft.com/office/drawing/2014/main" id="{3F76CB2B-954F-44DD-9DCA-39849035188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9EBD0E5-A35D-4090-B564-62B09B1EE3BF}"/>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2368972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F6C28-9337-432D-A3C3-55FDDF6ED63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E430B85-F6DC-4C3E-B0C6-9CCA0A5AD0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7A2CF2B-C774-4157-9023-C0514BBC51F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CB5B466-F991-4317-BB84-B40E4FA69A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1EE14FD-4FF0-44AF-B3A5-500C99D354E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EF1D821-1273-455B-80A4-A864B3C902C9}"/>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8" name="Footer Placeholder 7">
            <a:extLst>
              <a:ext uri="{FF2B5EF4-FFF2-40B4-BE49-F238E27FC236}">
                <a16:creationId xmlns:a16="http://schemas.microsoft.com/office/drawing/2014/main" id="{DDC8FE08-0BDD-4302-8C68-56EDADDCC7E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5D6F424-B6FA-4CF3-9677-9010AA6F7295}"/>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2555760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E0A0-6CAB-407F-861C-62069B0A8D4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A00A4BA-BFC1-4C23-9E9B-003624EE1F06}"/>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4" name="Footer Placeholder 3">
            <a:extLst>
              <a:ext uri="{FF2B5EF4-FFF2-40B4-BE49-F238E27FC236}">
                <a16:creationId xmlns:a16="http://schemas.microsoft.com/office/drawing/2014/main" id="{657F3A3C-6A93-40B0-862A-C0B52697D19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E155C9E-932C-4937-A787-D7E5BBDAEF2C}"/>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2580454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433169-D810-4C0A-83BF-8A5B927EE787}"/>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3" name="Footer Placeholder 2">
            <a:extLst>
              <a:ext uri="{FF2B5EF4-FFF2-40B4-BE49-F238E27FC236}">
                <a16:creationId xmlns:a16="http://schemas.microsoft.com/office/drawing/2014/main" id="{697D2B9D-BA6F-4FDA-A6C6-1D586EA2BE5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ED845A8-CAB9-4EAA-B42C-0A59DAFC6C58}"/>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1819055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72D6E-1645-45FC-B780-14B161E369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D6FFCC8-ED0A-4E47-9F85-315CF55FC0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1D7188D-3C06-4676-932E-9CFE228C30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250100B-D4E8-4F7C-AE6D-D492E6146F8C}"/>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6" name="Footer Placeholder 5">
            <a:extLst>
              <a:ext uri="{FF2B5EF4-FFF2-40B4-BE49-F238E27FC236}">
                <a16:creationId xmlns:a16="http://schemas.microsoft.com/office/drawing/2014/main" id="{79065CA6-7CD3-4F3B-9A65-6EC63AE09F5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A22E356-6682-4728-B7F0-B688EDC78C8C}"/>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34182927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3DB57-5224-4213-9C30-D01244D080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DC4E5EB-EE6D-478C-A2AA-58EA9AFA52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A94DEEB-78E0-4F37-8056-4BDEC53F75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264F01C-90E0-46A4-ACA4-06653886DA0D}"/>
              </a:ext>
            </a:extLst>
          </p:cNvPr>
          <p:cNvSpPr>
            <a:spLocks noGrp="1"/>
          </p:cNvSpPr>
          <p:nvPr>
            <p:ph type="dt" sz="half" idx="10"/>
          </p:nvPr>
        </p:nvSpPr>
        <p:spPr/>
        <p:txBody>
          <a:bodyPr/>
          <a:lstStyle/>
          <a:p>
            <a:fld id="{795BEC45-0F6A-4ACC-854F-D2B5DF748A0A}" type="datetimeFigureOut">
              <a:rPr lang="en-GB" smtClean="0"/>
              <a:t>10/03/2026</a:t>
            </a:fld>
            <a:endParaRPr lang="en-GB"/>
          </a:p>
        </p:txBody>
      </p:sp>
      <p:sp>
        <p:nvSpPr>
          <p:cNvPr id="6" name="Footer Placeholder 5">
            <a:extLst>
              <a:ext uri="{FF2B5EF4-FFF2-40B4-BE49-F238E27FC236}">
                <a16:creationId xmlns:a16="http://schemas.microsoft.com/office/drawing/2014/main" id="{2440DB44-BF36-4EDC-9662-AC8DB13C5E1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5A0BF7B-96DB-40C5-BCC4-0722288601A2}"/>
              </a:ext>
            </a:extLst>
          </p:cNvPr>
          <p:cNvSpPr>
            <a:spLocks noGrp="1"/>
          </p:cNvSpPr>
          <p:nvPr>
            <p:ph type="sldNum" sz="quarter" idx="12"/>
          </p:nvPr>
        </p:nvSpPr>
        <p:spPr/>
        <p:txBody>
          <a:bodyPr/>
          <a:lstStyle/>
          <a:p>
            <a:fld id="{D04542C1-8890-4B89-91D5-5121D06FC772}" type="slidenum">
              <a:rPr lang="en-GB" smtClean="0"/>
              <a:t>‹#›</a:t>
            </a:fld>
            <a:endParaRPr lang="en-GB"/>
          </a:p>
        </p:txBody>
      </p:sp>
    </p:spTree>
    <p:extLst>
      <p:ext uri="{BB962C8B-B14F-4D97-AF65-F5344CB8AC3E}">
        <p14:creationId xmlns:p14="http://schemas.microsoft.com/office/powerpoint/2010/main" val="3133864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747035-C3F7-4049-8624-D33869E6AF19}"/>
              </a:ext>
            </a:extLst>
          </p:cNvPr>
          <p:cNvGraphicFramePr>
            <a:graphicFrameLocks noChangeAspect="1"/>
          </p:cNvGraphicFramePr>
          <p:nvPr userDrawn="1">
            <p:custDataLst>
              <p:tags r:id="rId13"/>
            </p:custDataLst>
            <p:extLst>
              <p:ext uri="{D42A27DB-BD31-4B8C-83A1-F6EECF244321}">
                <p14:modId xmlns:p14="http://schemas.microsoft.com/office/powerpoint/2010/main" val="167835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27747035-C3F7-4049-8624-D33869E6AF1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DCB346-1507-4C13-99CF-A130B81E76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D8C0642-E1D6-4151-B6BC-B54DBC82E1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77195B-6438-44A4-9C83-7ABB5A875F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5BEC45-0F6A-4ACC-854F-D2B5DF748A0A}" type="datetimeFigureOut">
              <a:rPr lang="en-GB" smtClean="0"/>
              <a:t>10/03/2026</a:t>
            </a:fld>
            <a:endParaRPr lang="en-GB"/>
          </a:p>
        </p:txBody>
      </p:sp>
      <p:sp>
        <p:nvSpPr>
          <p:cNvPr id="5" name="Footer Placeholder 4">
            <a:extLst>
              <a:ext uri="{FF2B5EF4-FFF2-40B4-BE49-F238E27FC236}">
                <a16:creationId xmlns:a16="http://schemas.microsoft.com/office/drawing/2014/main" id="{CDE2626F-74A1-4762-97F7-D0FB51B5B7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1731839-40DA-4200-9320-5A7BA0BD54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4542C1-8890-4B89-91D5-5121D06FC772}" type="slidenum">
              <a:rPr lang="en-GB" smtClean="0"/>
              <a:t>‹#›</a:t>
            </a:fld>
            <a:endParaRPr lang="en-GB"/>
          </a:p>
        </p:txBody>
      </p:sp>
    </p:spTree>
    <p:extLst>
      <p:ext uri="{BB962C8B-B14F-4D97-AF65-F5344CB8AC3E}">
        <p14:creationId xmlns:p14="http://schemas.microsoft.com/office/powerpoint/2010/main" val="7004689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1CB84D-F4E3-4F96-BA75-1FBDA74E2A1C}"/>
              </a:ext>
            </a:extLst>
          </p:cNvPr>
          <p:cNvGraphicFramePr>
            <a:graphicFrameLocks noChangeAspect="1"/>
          </p:cNvGraphicFramePr>
          <p:nvPr userDrawn="1">
            <p:custDataLst>
              <p:tags r:id="rId13"/>
            </p:custDataLst>
            <p:extLst>
              <p:ext uri="{D42A27DB-BD31-4B8C-83A1-F6EECF244321}">
                <p14:modId xmlns:p14="http://schemas.microsoft.com/office/powerpoint/2010/main" val="71274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C31CB84D-F4E3-4F96-BA75-1FBDA74E2A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6C35891-DABA-4355-8E72-B94A447D3C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264F4D-AF6D-433D-A202-1F73C32E2D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290A8E-2C6D-4930-8F57-7CD268F8BA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FACC84-1C58-4354-86B9-396149E14257}" type="datetimeFigureOut">
              <a:rPr lang="en-US" smtClean="0"/>
              <a:t>3/10/2026</a:t>
            </a:fld>
            <a:endParaRPr lang="en-US"/>
          </a:p>
        </p:txBody>
      </p:sp>
      <p:sp>
        <p:nvSpPr>
          <p:cNvPr id="5" name="Footer Placeholder 4">
            <a:extLst>
              <a:ext uri="{FF2B5EF4-FFF2-40B4-BE49-F238E27FC236}">
                <a16:creationId xmlns:a16="http://schemas.microsoft.com/office/drawing/2014/main" id="{545A0A18-C78C-411B-A14E-7F0512466B3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539941-18E1-4263-8AFC-8C348B7C84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487D2B-8107-47CA-A585-CB39F83EC43B}" type="slidenum">
              <a:rPr lang="en-US" smtClean="0"/>
              <a:t>‹#›</a:t>
            </a:fld>
            <a:endParaRPr lang="en-US"/>
          </a:p>
        </p:txBody>
      </p:sp>
    </p:spTree>
    <p:extLst>
      <p:ext uri="{BB962C8B-B14F-4D97-AF65-F5344CB8AC3E}">
        <p14:creationId xmlns:p14="http://schemas.microsoft.com/office/powerpoint/2010/main" val="17685107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3.jpeg"/></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18.emf"/><Relationship Id="rId4" Type="http://schemas.openxmlformats.org/officeDocument/2006/relationships/image" Target="../media/image3.jpe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image" Target="../media/image3.jpeg"/><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11.jpeg"/><Relationship Id="rId4" Type="http://schemas.openxmlformats.org/officeDocument/2006/relationships/image" Target="../media/image3.jpe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3.jpe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3.jpeg"/><Relationship Id="rId4" Type="http://schemas.openxmlformats.org/officeDocument/2006/relationships/image" Target="../media/image4.jpe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3.jpeg"/><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jpeg"/></Relationships>
</file>

<file path=ppt/slides/_rels/slide2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2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40.jpeg"/><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1.jpeg"/></Relationships>
</file>

<file path=ppt/slides/_rels/slide3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41.jpeg"/></Relationships>
</file>

<file path=ppt/slides/_rels/slide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3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3.jpeg"/><Relationship Id="rId5" Type="http://schemas.openxmlformats.org/officeDocument/2006/relationships/image" Target="../media/image44.png"/><Relationship Id="rId4" Type="http://schemas.openxmlformats.org/officeDocument/2006/relationships/image" Target="../media/image43.jpeg"/></Relationships>
</file>

<file path=ppt/slides/_rels/slide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41.jpeg"/></Relationships>
</file>

<file path=ppt/slides/_rels/slide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4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4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4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4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4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8.jpeg"/><Relationship Id="rId7"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hyperlink" Target="https://deraolivaltablog.blogspot.com/2017/04/gluckwunsch-zum-geburtstag-auf-danisch.htm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0BA53-C360-D0DE-1981-AFE6499538DC}"/>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23CE470B-E68A-891F-ACDE-2E2063499376}"/>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5234" t="1" r="4884" b="-1569"/>
          <a:stretch>
            <a:fillRect/>
          </a:stretch>
        </p:blipFill>
        <p:spPr>
          <a:xfrm>
            <a:off x="0" y="0"/>
            <a:ext cx="6390042"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9" name="Billede 8" descr="Et billede, der indeholder tekst, Grafik, logo, grafisk design">
            <a:extLst>
              <a:ext uri="{FF2B5EF4-FFF2-40B4-BE49-F238E27FC236}">
                <a16:creationId xmlns:a16="http://schemas.microsoft.com/office/drawing/2014/main" id="{509042E8-8A8C-BFC7-EBF2-5BB72DDC31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6916" y="560001"/>
            <a:ext cx="3341619" cy="2998088"/>
          </a:xfrm>
          <a:prstGeom prst="rect">
            <a:avLst/>
          </a:prstGeom>
        </p:spPr>
      </p:pic>
      <p:sp>
        <p:nvSpPr>
          <p:cNvPr id="10" name="Title 1">
            <a:extLst>
              <a:ext uri="{FF2B5EF4-FFF2-40B4-BE49-F238E27FC236}">
                <a16:creationId xmlns:a16="http://schemas.microsoft.com/office/drawing/2014/main" id="{5D1460EF-D83F-EBDE-F5DB-A50DB15266BC}"/>
              </a:ext>
            </a:extLst>
          </p:cNvPr>
          <p:cNvSpPr txBox="1">
            <a:spLocks/>
          </p:cNvSpPr>
          <p:nvPr/>
        </p:nvSpPr>
        <p:spPr>
          <a:xfrm>
            <a:off x="5714140" y="4397183"/>
            <a:ext cx="6687172" cy="267597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b="1" dirty="0">
                <a:solidFill>
                  <a:schemeClr val="tx2">
                    <a:lumMod val="75000"/>
                  </a:schemeClr>
                </a:solidFill>
                <a:latin typeface="+mn-lt"/>
              </a:rPr>
              <a:t>GENERALFORSAMLING</a:t>
            </a:r>
            <a:br>
              <a:rPr lang="en-US" sz="4800" b="1" dirty="0">
                <a:solidFill>
                  <a:schemeClr val="tx2"/>
                </a:solidFill>
                <a:latin typeface="+mn-lt"/>
              </a:rPr>
            </a:br>
            <a:endParaRPr lang="en-US" sz="2000" b="1" dirty="0">
              <a:solidFill>
                <a:schemeClr val="tx2"/>
              </a:solidFill>
              <a:latin typeface="+mn-lt"/>
            </a:endParaRPr>
          </a:p>
          <a:p>
            <a:pPr algn="ctr"/>
            <a:r>
              <a:rPr lang="en-US" sz="4800" b="1" dirty="0">
                <a:solidFill>
                  <a:schemeClr val="tx2">
                    <a:lumMod val="75000"/>
                  </a:schemeClr>
                </a:solidFill>
                <a:latin typeface="+mn-lt"/>
              </a:rPr>
              <a:t>12. marts 2026</a:t>
            </a:r>
            <a:br>
              <a:rPr lang="en-US" sz="4800" b="1" dirty="0">
                <a:solidFill>
                  <a:schemeClr val="tx2"/>
                </a:solidFill>
                <a:latin typeface="+mn-lt"/>
              </a:rPr>
            </a:br>
            <a:endParaRPr lang="en-US" sz="4800" b="1" dirty="0">
              <a:solidFill>
                <a:schemeClr val="tx2"/>
              </a:solidFill>
              <a:latin typeface="+mn-lt"/>
            </a:endParaRPr>
          </a:p>
        </p:txBody>
      </p:sp>
    </p:spTree>
    <p:extLst>
      <p:ext uri="{BB962C8B-B14F-4D97-AF65-F5344CB8AC3E}">
        <p14:creationId xmlns:p14="http://schemas.microsoft.com/office/powerpoint/2010/main" val="23342709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B13E1-F793-A6C0-AFE2-A3B33F36F069}"/>
            </a:ext>
          </a:extLst>
        </p:cNvPr>
        <p:cNvGrpSpPr/>
        <p:nvPr/>
      </p:nvGrpSpPr>
      <p:grpSpPr>
        <a:xfrm>
          <a:off x="0" y="0"/>
          <a:ext cx="0" cy="0"/>
          <a:chOff x="0" y="0"/>
          <a:chExt cx="0" cy="0"/>
        </a:xfrm>
      </p:grpSpPr>
      <p:pic>
        <p:nvPicPr>
          <p:cNvPr id="3" name="Billede 2" descr="Et billede, der indeholder tekst, Grafik, logo, grafisk design">
            <a:extLst>
              <a:ext uri="{FF2B5EF4-FFF2-40B4-BE49-F238E27FC236}">
                <a16:creationId xmlns:a16="http://schemas.microsoft.com/office/drawing/2014/main" id="{49B1DCF9-9F01-9AAF-7A09-75AE050FCE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20" name="Titel 1">
            <a:extLst>
              <a:ext uri="{FF2B5EF4-FFF2-40B4-BE49-F238E27FC236}">
                <a16:creationId xmlns:a16="http://schemas.microsoft.com/office/drawing/2014/main" id="{529822F4-869E-E788-D95F-3D35964DE1E1}"/>
              </a:ext>
            </a:extLst>
          </p:cNvPr>
          <p:cNvSpPr>
            <a:spLocks noGrp="1"/>
          </p:cNvSpPr>
          <p:nvPr>
            <p:ph type="title"/>
          </p:nvPr>
        </p:nvSpPr>
        <p:spPr>
          <a:xfrm>
            <a:off x="1152630" y="361027"/>
            <a:ext cx="9886739" cy="1330840"/>
          </a:xfrm>
        </p:spPr>
        <p:txBody>
          <a:bodyPr vert="horz" lIns="91440" tIns="45720" rIns="91440" bIns="45720" rtlCol="0" anchor="ctr">
            <a:normAutofit fontScale="90000"/>
          </a:bodyPr>
          <a:lstStyle/>
          <a:p>
            <a:r>
              <a:rPr lang="en-US" sz="5300" b="1" kern="1200" dirty="0">
                <a:solidFill>
                  <a:schemeClr val="tx1"/>
                </a:solidFill>
                <a:latin typeface="+mj-lt"/>
                <a:ea typeface="+mj-ea"/>
                <a:cs typeface="+mj-cs"/>
              </a:rPr>
              <a:t>IGANGVÆRENDE PROJEKTER</a:t>
            </a:r>
            <a:br>
              <a:rPr lang="en-US" sz="5300" b="1" kern="1200" dirty="0">
                <a:solidFill>
                  <a:schemeClr val="tx1"/>
                </a:solidFill>
                <a:latin typeface="+mj-lt"/>
                <a:ea typeface="+mj-ea"/>
                <a:cs typeface="+mj-cs"/>
              </a:rPr>
            </a:br>
            <a:r>
              <a:rPr lang="en-US" b="1" i="1" kern="1200" dirty="0">
                <a:solidFill>
                  <a:schemeClr val="tx1"/>
                </a:solidFill>
                <a:latin typeface="+mj-lt"/>
                <a:ea typeface="+mj-ea"/>
                <a:cs typeface="+mj-cs"/>
              </a:rPr>
              <a:t>BESLUTTET ELLER DELVIST GENNEMFØRT</a:t>
            </a:r>
            <a:br>
              <a:rPr lang="en-US" sz="2000" b="1" i="1" kern="1200" dirty="0">
                <a:solidFill>
                  <a:schemeClr val="tx1"/>
                </a:solidFill>
                <a:latin typeface="+mj-lt"/>
                <a:ea typeface="+mj-ea"/>
                <a:cs typeface="+mj-cs"/>
              </a:rPr>
            </a:br>
            <a:br>
              <a:rPr lang="en-US" sz="2000" b="1" i="1" kern="1200" dirty="0">
                <a:solidFill>
                  <a:schemeClr val="tx1"/>
                </a:solidFill>
                <a:latin typeface="+mj-lt"/>
                <a:ea typeface="+mj-ea"/>
                <a:cs typeface="+mj-cs"/>
              </a:rPr>
            </a:br>
            <a:endParaRPr lang="en-US" sz="2400" b="1" i="1" kern="1200" dirty="0">
              <a:solidFill>
                <a:schemeClr val="tx1"/>
              </a:solidFill>
              <a:latin typeface="+mj-lt"/>
              <a:ea typeface="+mj-ea"/>
              <a:cs typeface="+mj-cs"/>
            </a:endParaRPr>
          </a:p>
        </p:txBody>
      </p:sp>
      <p:sp>
        <p:nvSpPr>
          <p:cNvPr id="12" name="Text 8">
            <a:extLst>
              <a:ext uri="{FF2B5EF4-FFF2-40B4-BE49-F238E27FC236}">
                <a16:creationId xmlns:a16="http://schemas.microsoft.com/office/drawing/2014/main" id="{7B3C3836-A2DD-6C05-C2B5-410C17FE0714}"/>
              </a:ext>
            </a:extLst>
          </p:cNvPr>
          <p:cNvSpPr/>
          <p:nvPr/>
        </p:nvSpPr>
        <p:spPr>
          <a:xfrm>
            <a:off x="1855087" y="3563572"/>
            <a:ext cx="5785662"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
        <p:nvSpPr>
          <p:cNvPr id="13" name="Shape 9">
            <a:extLst>
              <a:ext uri="{FF2B5EF4-FFF2-40B4-BE49-F238E27FC236}">
                <a16:creationId xmlns:a16="http://schemas.microsoft.com/office/drawing/2014/main" id="{6797F14F-8660-0947-BF25-9AB53AC22DDB}"/>
              </a:ext>
            </a:extLst>
          </p:cNvPr>
          <p:cNvSpPr/>
          <p:nvPr/>
        </p:nvSpPr>
        <p:spPr>
          <a:xfrm>
            <a:off x="1389314" y="1927865"/>
            <a:ext cx="9216538" cy="2467479"/>
          </a:xfrm>
          <a:prstGeom prst="rect">
            <a:avLst/>
          </a:prstGeom>
          <a:solidFill>
            <a:srgbClr val="FFFFFF"/>
          </a:solidFill>
          <a:ln w="12700">
            <a:solidFill>
              <a:srgbClr val="DDDDDD"/>
            </a:solidFill>
            <a:prstDash val="solid"/>
          </a:ln>
          <a:effectLst>
            <a:outerShdw blurRad="101600" dist="25400" dir="8100000" algn="bl" rotWithShape="0">
              <a:srgbClr val="000000">
                <a:alpha val="10000"/>
              </a:srgbClr>
            </a:outerShdw>
          </a:effectLst>
        </p:spPr>
        <p:txBody>
          <a:bodyPr/>
          <a:lstStyle/>
          <a:p>
            <a:endParaRPr lang="da-DK"/>
          </a:p>
        </p:txBody>
      </p:sp>
      <p:sp>
        <p:nvSpPr>
          <p:cNvPr id="15" name="Text 11">
            <a:extLst>
              <a:ext uri="{FF2B5EF4-FFF2-40B4-BE49-F238E27FC236}">
                <a16:creationId xmlns:a16="http://schemas.microsoft.com/office/drawing/2014/main" id="{E14F6D47-D81F-C761-3C0E-25F6ECB67953}"/>
              </a:ext>
            </a:extLst>
          </p:cNvPr>
          <p:cNvSpPr/>
          <p:nvPr/>
        </p:nvSpPr>
        <p:spPr>
          <a:xfrm>
            <a:off x="1474948" y="2135922"/>
            <a:ext cx="6062912" cy="365760"/>
          </a:xfrm>
          <a:prstGeom prst="rect">
            <a:avLst/>
          </a:prstGeom>
          <a:noFill/>
          <a:ln/>
        </p:spPr>
        <p:txBody>
          <a:bodyPr wrap="square" lIns="0" tIns="0" rIns="0" bIns="0" rtlCol="0" anchor="ctr"/>
          <a:lstStyle/>
          <a:p>
            <a:pPr marL="0" indent="0">
              <a:buNone/>
            </a:pPr>
            <a:r>
              <a:rPr lang="en-US" sz="3600" b="1" kern="0" spc="200">
                <a:solidFill>
                  <a:srgbClr val="4A7C59"/>
                </a:solidFill>
                <a:latin typeface="Calibri"/>
                <a:ea typeface="Calibri"/>
                <a:cs typeface="Calibri"/>
              </a:rPr>
              <a:t>BUNKERE &amp; TEESTEDER</a:t>
            </a:r>
            <a:endParaRPr lang="en-US" sz="3600">
              <a:latin typeface="Calibri"/>
              <a:ea typeface="Calibri"/>
              <a:cs typeface="Calibri"/>
            </a:endParaRPr>
          </a:p>
        </p:txBody>
      </p:sp>
      <p:sp>
        <p:nvSpPr>
          <p:cNvPr id="17" name="Text 12">
            <a:extLst>
              <a:ext uri="{FF2B5EF4-FFF2-40B4-BE49-F238E27FC236}">
                <a16:creationId xmlns:a16="http://schemas.microsoft.com/office/drawing/2014/main" id="{5312969A-791D-0690-4118-4D9F7C09B2F2}"/>
              </a:ext>
            </a:extLst>
          </p:cNvPr>
          <p:cNvSpPr/>
          <p:nvPr/>
        </p:nvSpPr>
        <p:spPr>
          <a:xfrm>
            <a:off x="1474947" y="2622975"/>
            <a:ext cx="9081621" cy="640080"/>
          </a:xfrm>
          <a:prstGeom prst="rect">
            <a:avLst/>
          </a:prstGeom>
          <a:noFill/>
          <a:ln/>
        </p:spPr>
        <p:txBody>
          <a:bodyPr wrap="square" lIns="0" tIns="0" rIns="0" bIns="0" rtlCol="0" anchor="t"/>
          <a:lstStyle/>
          <a:p>
            <a:pPr marL="457200" indent="-457200">
              <a:buFont typeface="Wingdings" panose="05000000000000000000" pitchFamily="2" charset="2"/>
              <a:buChar char="Ø"/>
            </a:pPr>
            <a:r>
              <a:rPr lang="en-US" sz="3600" dirty="0" err="1">
                <a:latin typeface="Calibri" pitchFamily="34" charset="0"/>
                <a:ea typeface="Calibri" pitchFamily="34" charset="-122"/>
                <a:cs typeface="Calibri" pitchFamily="34" charset="-120"/>
              </a:rPr>
              <a:t>Ombygning</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af</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bunkere</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hul</a:t>
            </a:r>
            <a:r>
              <a:rPr lang="en-US" sz="3600" dirty="0">
                <a:latin typeface="Calibri" pitchFamily="34" charset="0"/>
                <a:ea typeface="Calibri" pitchFamily="34" charset="-122"/>
                <a:cs typeface="Calibri" pitchFamily="34" charset="-120"/>
              </a:rPr>
              <a:t> 2 &amp; 11 </a:t>
            </a:r>
            <a:r>
              <a:rPr lang="en-US" sz="3600" dirty="0" err="1">
                <a:latin typeface="Calibri" pitchFamily="34" charset="0"/>
                <a:ea typeface="Calibri" pitchFamily="34" charset="-122"/>
                <a:cs typeface="Calibri" pitchFamily="34" charset="-120"/>
              </a:rPr>
              <a:t>til</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græs</a:t>
            </a:r>
            <a:endParaRPr lang="en-US" sz="3600" dirty="0">
              <a:latin typeface="Calibri" pitchFamily="34" charset="0"/>
              <a:ea typeface="Calibri" pitchFamily="34" charset="-122"/>
              <a:cs typeface="Calibri" pitchFamily="34" charset="-120"/>
            </a:endParaRPr>
          </a:p>
          <a:p>
            <a:pPr marL="457200" indent="-457200">
              <a:buFont typeface="Wingdings" panose="05000000000000000000" pitchFamily="2" charset="2"/>
              <a:buChar char="Ø"/>
            </a:pPr>
            <a:r>
              <a:rPr lang="en-US" sz="3600" dirty="0" err="1">
                <a:latin typeface="Calibri" pitchFamily="34" charset="0"/>
                <a:ea typeface="Calibri" pitchFamily="34" charset="-122"/>
                <a:cs typeface="Calibri" pitchFamily="34" charset="-120"/>
              </a:rPr>
              <a:t>Forbedring</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af</a:t>
            </a:r>
            <a:r>
              <a:rPr lang="en-US" sz="3600" dirty="0">
                <a:latin typeface="Calibri" pitchFamily="34" charset="0"/>
                <a:ea typeface="Calibri" pitchFamily="34" charset="-122"/>
                <a:cs typeface="Calibri" pitchFamily="34" charset="-120"/>
              </a:rPr>
              <a:t> tee </a:t>
            </a:r>
            <a:r>
              <a:rPr lang="en-US" sz="3600" dirty="0" err="1">
                <a:latin typeface="Calibri" pitchFamily="34" charset="0"/>
                <a:ea typeface="Calibri" pitchFamily="34" charset="-122"/>
                <a:cs typeface="Calibri" pitchFamily="34" charset="-120"/>
              </a:rPr>
              <a:t>steder</a:t>
            </a:r>
            <a:r>
              <a:rPr lang="en-US" sz="3600" dirty="0">
                <a:latin typeface="Calibri" pitchFamily="34" charset="0"/>
                <a:ea typeface="Calibri" pitchFamily="34" charset="-122"/>
                <a:cs typeface="Calibri" pitchFamily="34" charset="-120"/>
              </a:rPr>
              <a:t> </a:t>
            </a:r>
            <a:r>
              <a:rPr lang="en-US" sz="3600" dirty="0" err="1">
                <a:latin typeface="Calibri" pitchFamily="34" charset="0"/>
                <a:ea typeface="Calibri" pitchFamily="34" charset="-122"/>
                <a:cs typeface="Calibri" pitchFamily="34" charset="-120"/>
              </a:rPr>
              <a:t>hul</a:t>
            </a:r>
            <a:r>
              <a:rPr lang="en-US" sz="3600" dirty="0">
                <a:latin typeface="Calibri" pitchFamily="34" charset="0"/>
                <a:ea typeface="Calibri" pitchFamily="34" charset="-122"/>
                <a:cs typeface="Calibri" pitchFamily="34" charset="-120"/>
              </a:rPr>
              <a:t> 17</a:t>
            </a:r>
          </a:p>
          <a:p>
            <a:pPr marL="457200" indent="-457200">
              <a:buFont typeface="Wingdings" panose="05000000000000000000" pitchFamily="2" charset="2"/>
              <a:buChar char="Ø"/>
            </a:pPr>
            <a:r>
              <a:rPr lang="da-DK" sz="3600" dirty="0"/>
              <a:t>Større teesteder på hul 5, 7 og 9</a:t>
            </a:r>
            <a:endParaRPr lang="en-US" sz="3600" dirty="0">
              <a:latin typeface="Calibri" pitchFamily="34" charset="0"/>
              <a:ea typeface="Calibri" pitchFamily="34" charset="-122"/>
              <a:cs typeface="Calibri" pitchFamily="34" charset="-120"/>
            </a:endParaRPr>
          </a:p>
          <a:p>
            <a:endParaRPr lang="en-US" sz="3600" dirty="0">
              <a:latin typeface="Calibri" pitchFamily="34" charset="0"/>
              <a:ea typeface="Calibri" pitchFamily="34" charset="-122"/>
              <a:cs typeface="Calibri" pitchFamily="34" charset="-120"/>
            </a:endParaRPr>
          </a:p>
        </p:txBody>
      </p:sp>
      <p:sp>
        <p:nvSpPr>
          <p:cNvPr id="19" name="Text 13">
            <a:extLst>
              <a:ext uri="{FF2B5EF4-FFF2-40B4-BE49-F238E27FC236}">
                <a16:creationId xmlns:a16="http://schemas.microsoft.com/office/drawing/2014/main" id="{AD3D515A-3F2C-2F56-3C9D-C72DC3C36294}"/>
              </a:ext>
            </a:extLst>
          </p:cNvPr>
          <p:cNvSpPr/>
          <p:nvPr/>
        </p:nvSpPr>
        <p:spPr>
          <a:xfrm>
            <a:off x="1914498" y="3231321"/>
            <a:ext cx="5734562" cy="640080"/>
          </a:xfrm>
          <a:prstGeom prst="rect">
            <a:avLst/>
          </a:prstGeom>
          <a:noFill/>
          <a:ln/>
        </p:spPr>
        <p:txBody>
          <a:bodyPr wrap="square" lIns="0" tIns="0" rIns="0" bIns="0" rtlCol="0" anchor="t"/>
          <a:lstStyle/>
          <a:p>
            <a:endParaRPr lang="en-US" sz="2800" dirty="0">
              <a:latin typeface="Calibri" pitchFamily="34" charset="0"/>
              <a:ea typeface="Calibri" pitchFamily="34" charset="-122"/>
              <a:cs typeface="Calibri" pitchFamily="34" charset="-120"/>
            </a:endParaRPr>
          </a:p>
        </p:txBody>
      </p:sp>
      <p:sp>
        <p:nvSpPr>
          <p:cNvPr id="23" name="Shape 3">
            <a:extLst>
              <a:ext uri="{FF2B5EF4-FFF2-40B4-BE49-F238E27FC236}">
                <a16:creationId xmlns:a16="http://schemas.microsoft.com/office/drawing/2014/main" id="{013E595A-CA9A-2CBD-5A89-FD05FEF80B52}"/>
              </a:ext>
            </a:extLst>
          </p:cNvPr>
          <p:cNvSpPr/>
          <p:nvPr/>
        </p:nvSpPr>
        <p:spPr>
          <a:xfrm>
            <a:off x="1389315" y="4614588"/>
            <a:ext cx="9167254" cy="1845818"/>
          </a:xfrm>
          <a:prstGeom prst="rect">
            <a:avLst/>
          </a:prstGeom>
          <a:solidFill>
            <a:srgbClr val="FFFFFF"/>
          </a:solidFill>
          <a:ln w="12700">
            <a:solidFill>
              <a:srgbClr val="DDDDDD"/>
            </a:solidFill>
            <a:prstDash val="solid"/>
          </a:ln>
          <a:effectLst>
            <a:outerShdw blurRad="101600" dist="25400" dir="8100000" algn="bl" rotWithShape="0">
              <a:srgbClr val="000000">
                <a:alpha val="10000"/>
              </a:srgbClr>
            </a:outerShdw>
          </a:effectLst>
        </p:spPr>
        <p:txBody>
          <a:bodyPr/>
          <a:lstStyle/>
          <a:p>
            <a:endParaRPr lang="da-DK"/>
          </a:p>
        </p:txBody>
      </p:sp>
      <p:sp>
        <p:nvSpPr>
          <p:cNvPr id="24" name="Shape 4">
            <a:extLst>
              <a:ext uri="{FF2B5EF4-FFF2-40B4-BE49-F238E27FC236}">
                <a16:creationId xmlns:a16="http://schemas.microsoft.com/office/drawing/2014/main" id="{D3D672D8-84E6-B6EC-1035-9542C435C9DF}"/>
              </a:ext>
            </a:extLst>
          </p:cNvPr>
          <p:cNvSpPr/>
          <p:nvPr/>
        </p:nvSpPr>
        <p:spPr>
          <a:xfrm>
            <a:off x="1394031" y="4577880"/>
            <a:ext cx="9184309" cy="258312"/>
          </a:xfrm>
          <a:prstGeom prst="rect">
            <a:avLst/>
          </a:prstGeom>
          <a:solidFill>
            <a:srgbClr val="1E4D2B"/>
          </a:solidFill>
          <a:ln w="12700">
            <a:solidFill>
              <a:srgbClr val="1E4D2B"/>
            </a:solidFill>
            <a:prstDash val="solid"/>
          </a:ln>
        </p:spPr>
        <p:txBody>
          <a:bodyPr/>
          <a:lstStyle/>
          <a:p>
            <a:endParaRPr lang="da-DK"/>
          </a:p>
        </p:txBody>
      </p:sp>
      <p:sp>
        <p:nvSpPr>
          <p:cNvPr id="25" name="Text 5">
            <a:extLst>
              <a:ext uri="{FF2B5EF4-FFF2-40B4-BE49-F238E27FC236}">
                <a16:creationId xmlns:a16="http://schemas.microsoft.com/office/drawing/2014/main" id="{F8461458-AA32-25FE-A669-EB6F894462D7}"/>
              </a:ext>
            </a:extLst>
          </p:cNvPr>
          <p:cNvSpPr/>
          <p:nvPr/>
        </p:nvSpPr>
        <p:spPr>
          <a:xfrm>
            <a:off x="1474948" y="4987761"/>
            <a:ext cx="3530831" cy="204060"/>
          </a:xfrm>
          <a:prstGeom prst="rect">
            <a:avLst/>
          </a:prstGeom>
          <a:noFill/>
          <a:ln/>
        </p:spPr>
        <p:txBody>
          <a:bodyPr wrap="square" lIns="0" tIns="0" rIns="0" bIns="0" rtlCol="0" anchor="ctr"/>
          <a:lstStyle/>
          <a:p>
            <a:pPr marL="0" indent="0">
              <a:buNone/>
            </a:pPr>
            <a:r>
              <a:rPr lang="en-US" sz="3600" b="1" kern="0" spc="200" dirty="0">
                <a:solidFill>
                  <a:srgbClr val="1E4D2B"/>
                </a:solidFill>
                <a:latin typeface="Calibri" pitchFamily="34" charset="0"/>
                <a:ea typeface="Calibri" pitchFamily="34" charset="-122"/>
                <a:cs typeface="Calibri" pitchFamily="34" charset="-120"/>
              </a:rPr>
              <a:t>DIVERSE</a:t>
            </a:r>
            <a:endParaRPr lang="en-US" sz="3600" dirty="0"/>
          </a:p>
        </p:txBody>
      </p:sp>
      <p:sp>
        <p:nvSpPr>
          <p:cNvPr id="29" name="Text 7">
            <a:extLst>
              <a:ext uri="{FF2B5EF4-FFF2-40B4-BE49-F238E27FC236}">
                <a16:creationId xmlns:a16="http://schemas.microsoft.com/office/drawing/2014/main" id="{DEC162A3-DE9B-D63D-F36A-5517BADAC501}"/>
              </a:ext>
            </a:extLst>
          </p:cNvPr>
          <p:cNvSpPr/>
          <p:nvPr/>
        </p:nvSpPr>
        <p:spPr>
          <a:xfrm>
            <a:off x="1474947" y="5290454"/>
            <a:ext cx="8203791" cy="357106"/>
          </a:xfrm>
          <a:prstGeom prst="rect">
            <a:avLst/>
          </a:prstGeom>
          <a:noFill/>
          <a:ln/>
        </p:spPr>
        <p:txBody>
          <a:bodyPr wrap="square" lIns="0" tIns="0" rIns="0" bIns="0" rtlCol="0" anchor="t"/>
          <a:lstStyle/>
          <a:p>
            <a:pPr marL="457200" indent="-457200">
              <a:buFont typeface="Wingdings" panose="05000000000000000000" pitchFamily="2" charset="2"/>
              <a:buChar char="Ø"/>
            </a:pPr>
            <a:r>
              <a:rPr lang="da-DK" sz="4000" dirty="0"/>
              <a:t>Overgang til måtteløsning på </a:t>
            </a:r>
            <a:r>
              <a:rPr lang="da-DK" sz="4000" dirty="0" err="1"/>
              <a:t>driving</a:t>
            </a:r>
            <a:r>
              <a:rPr lang="da-DK" sz="4000" dirty="0"/>
              <a:t> range (tættest boldautomat)</a:t>
            </a:r>
            <a:endParaRPr lang="en-US" sz="4000" dirty="0">
              <a:solidFill>
                <a:srgbClr val="1A2E1A"/>
              </a:solidFill>
              <a:latin typeface="Calibri" pitchFamily="34" charset="0"/>
              <a:ea typeface="Calibri" pitchFamily="34" charset="-122"/>
              <a:cs typeface="Calibri" pitchFamily="34" charset="-120"/>
            </a:endParaRPr>
          </a:p>
        </p:txBody>
      </p:sp>
      <p:pic>
        <p:nvPicPr>
          <p:cNvPr id="38" name="Pladsholder til indhold 4">
            <a:extLst>
              <a:ext uri="{FF2B5EF4-FFF2-40B4-BE49-F238E27FC236}">
                <a16:creationId xmlns:a16="http://schemas.microsoft.com/office/drawing/2014/main" id="{C34CD96A-2C75-FC6A-D2F9-BF6417CB5150}"/>
              </a:ext>
            </a:extLst>
          </p:cNvPr>
          <p:cNvPicPr>
            <a:picLocks noChangeAspect="1"/>
          </p:cNvPicPr>
          <p:nvPr/>
        </p:nvPicPr>
        <p:blipFill>
          <a:blip r:embed="rId4">
            <a:extLst>
              <a:ext uri="{28A0092B-C50C-407E-A947-70E740481C1C}">
                <a14:useLocalDpi xmlns:a14="http://schemas.microsoft.com/office/drawing/2010/main" val="0"/>
              </a:ext>
            </a:extLst>
          </a:blip>
          <a:srcRect l="39630" r="15716"/>
          <a:stretch>
            <a:fillRect/>
          </a:stretch>
        </p:blipFill>
        <p:spPr>
          <a:xfrm>
            <a:off x="-216805" y="10"/>
            <a:ext cx="1449002"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Shape 10">
            <a:extLst>
              <a:ext uri="{FF2B5EF4-FFF2-40B4-BE49-F238E27FC236}">
                <a16:creationId xmlns:a16="http://schemas.microsoft.com/office/drawing/2014/main" id="{6ED44A24-729A-23D2-EDC5-A64C9680F877}"/>
              </a:ext>
            </a:extLst>
          </p:cNvPr>
          <p:cNvSpPr/>
          <p:nvPr/>
        </p:nvSpPr>
        <p:spPr>
          <a:xfrm>
            <a:off x="1389315" y="1780503"/>
            <a:ext cx="9216537" cy="276323"/>
          </a:xfrm>
          <a:prstGeom prst="rect">
            <a:avLst/>
          </a:prstGeom>
          <a:solidFill>
            <a:srgbClr val="4A7C59"/>
          </a:solidFill>
          <a:ln w="12700">
            <a:solidFill>
              <a:srgbClr val="4A7C59"/>
            </a:solidFill>
            <a:prstDash val="soli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ext 19">
            <a:extLst>
              <a:ext uri="{FF2B5EF4-FFF2-40B4-BE49-F238E27FC236}">
                <a16:creationId xmlns:a16="http://schemas.microsoft.com/office/drawing/2014/main" id="{7CBC7931-0B77-3258-AF49-F818EB3995CC}"/>
              </a:ext>
            </a:extLst>
          </p:cNvPr>
          <p:cNvSpPr/>
          <p:nvPr/>
        </p:nvSpPr>
        <p:spPr>
          <a:xfrm>
            <a:off x="1912793" y="3156467"/>
            <a:ext cx="2194560" cy="640080"/>
          </a:xfrm>
          <a:prstGeom prst="rect">
            <a:avLst/>
          </a:prstGeom>
          <a:noFill/>
          <a:ln/>
        </p:spPr>
        <p:txBody>
          <a:bodyPr wrap="square" lIns="0" tIns="0" rIns="0" bIns="0" rtlCol="0" anchor="t"/>
          <a:lstStyle/>
          <a:p>
            <a:pPr marL="0" indent="0">
              <a:buNone/>
            </a:pPr>
            <a:endParaRPr lang="en-US" sz="1200"/>
          </a:p>
        </p:txBody>
      </p:sp>
      <p:sp>
        <p:nvSpPr>
          <p:cNvPr id="21" name="Text 8">
            <a:extLst>
              <a:ext uri="{FF2B5EF4-FFF2-40B4-BE49-F238E27FC236}">
                <a16:creationId xmlns:a16="http://schemas.microsoft.com/office/drawing/2014/main" id="{03DD1059-4F93-C453-57FF-5F133523AA69}"/>
              </a:ext>
            </a:extLst>
          </p:cNvPr>
          <p:cNvSpPr/>
          <p:nvPr/>
        </p:nvSpPr>
        <p:spPr>
          <a:xfrm>
            <a:off x="1842130" y="3490700"/>
            <a:ext cx="5785662"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Tree>
    <p:extLst>
      <p:ext uri="{BB962C8B-B14F-4D97-AF65-F5344CB8AC3E}">
        <p14:creationId xmlns:p14="http://schemas.microsoft.com/office/powerpoint/2010/main" val="39455264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7562C-F6FA-EE45-4D90-5A54BF2786D2}"/>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05E753E7-5931-5F90-9C46-1B2C1B28C259}"/>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B0AB1491-1B73-A40B-6B4D-FAB02DE81F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20" name="Titel 1">
            <a:extLst>
              <a:ext uri="{FF2B5EF4-FFF2-40B4-BE49-F238E27FC236}">
                <a16:creationId xmlns:a16="http://schemas.microsoft.com/office/drawing/2014/main" id="{B9666C5A-0491-CF52-A1AE-E24CADD8F829}"/>
              </a:ext>
            </a:extLst>
          </p:cNvPr>
          <p:cNvSpPr>
            <a:spLocks noGrp="1"/>
          </p:cNvSpPr>
          <p:nvPr>
            <p:ph type="title"/>
          </p:nvPr>
        </p:nvSpPr>
        <p:spPr>
          <a:xfrm>
            <a:off x="1152630" y="361027"/>
            <a:ext cx="9886739" cy="1330840"/>
          </a:xfrm>
        </p:spPr>
        <p:txBody>
          <a:bodyPr vert="horz" lIns="91440" tIns="45720" rIns="91440" bIns="45720" rtlCol="0" anchor="ctr">
            <a:normAutofit fontScale="90000"/>
          </a:bodyPr>
          <a:lstStyle/>
          <a:p>
            <a:r>
              <a:rPr lang="en-US" sz="5300" b="1"/>
              <a:t>FREMTIDIGE</a:t>
            </a:r>
            <a:r>
              <a:rPr lang="en-US" sz="5300" b="1" kern="1200">
                <a:solidFill>
                  <a:schemeClr val="tx1"/>
                </a:solidFill>
                <a:latin typeface="+mj-lt"/>
                <a:ea typeface="+mj-ea"/>
                <a:cs typeface="+mj-cs"/>
              </a:rPr>
              <a:t> PROJEKTER</a:t>
            </a:r>
            <a:br>
              <a:rPr lang="en-US" sz="5300" b="1" kern="1200">
                <a:solidFill>
                  <a:schemeClr val="tx1"/>
                </a:solidFill>
                <a:latin typeface="+mj-lt"/>
                <a:ea typeface="+mj-ea"/>
                <a:cs typeface="+mj-cs"/>
              </a:rPr>
            </a:br>
            <a:r>
              <a:rPr lang="en-US" b="1" i="1" kern="1200">
                <a:solidFill>
                  <a:schemeClr val="tx1"/>
                </a:solidFill>
                <a:latin typeface="+mj-lt"/>
                <a:ea typeface="+mj-ea"/>
                <a:cs typeface="+mj-cs"/>
              </a:rPr>
              <a:t>PLANER OG MULIGHEDER PÅ LANG SIGT</a:t>
            </a:r>
            <a:br>
              <a:rPr lang="en-US" sz="2000" b="1" i="1" kern="1200">
                <a:solidFill>
                  <a:schemeClr val="tx1"/>
                </a:solidFill>
                <a:latin typeface="+mj-lt"/>
                <a:ea typeface="+mj-ea"/>
                <a:cs typeface="+mj-cs"/>
              </a:rPr>
            </a:br>
            <a:br>
              <a:rPr lang="en-US" sz="2000" b="1" i="1" kern="1200">
                <a:solidFill>
                  <a:schemeClr val="tx1"/>
                </a:solidFill>
                <a:latin typeface="+mj-lt"/>
                <a:ea typeface="+mj-ea"/>
                <a:cs typeface="+mj-cs"/>
              </a:rPr>
            </a:br>
            <a:endParaRPr lang="en-US" sz="2400" b="1" i="1" kern="1200">
              <a:solidFill>
                <a:schemeClr val="tx1"/>
              </a:solidFill>
              <a:latin typeface="+mj-lt"/>
              <a:ea typeface="+mj-ea"/>
              <a:cs typeface="+mj-cs"/>
            </a:endParaRPr>
          </a:p>
        </p:txBody>
      </p:sp>
      <p:sp>
        <p:nvSpPr>
          <p:cNvPr id="2" name="Shape 3">
            <a:extLst>
              <a:ext uri="{FF2B5EF4-FFF2-40B4-BE49-F238E27FC236}">
                <a16:creationId xmlns:a16="http://schemas.microsoft.com/office/drawing/2014/main" id="{A79476DF-E2B1-F54E-C5B1-393798B51503}"/>
              </a:ext>
            </a:extLst>
          </p:cNvPr>
          <p:cNvSpPr/>
          <p:nvPr/>
        </p:nvSpPr>
        <p:spPr>
          <a:xfrm>
            <a:off x="1307205" y="1471356"/>
            <a:ext cx="10586057" cy="4725003"/>
          </a:xfrm>
          <a:prstGeom prst="rect">
            <a:avLst/>
          </a:prstGeom>
          <a:solidFill>
            <a:srgbClr val="FFFFFF"/>
          </a:solidFill>
          <a:ln w="12700">
            <a:solidFill>
              <a:srgbClr val="DDDDDD"/>
            </a:solidFill>
            <a:prstDash val="solid"/>
          </a:ln>
          <a:effectLst>
            <a:outerShdw blurRad="101600" dist="25400" dir="8100000" algn="bl" rotWithShape="0">
              <a:srgbClr val="000000">
                <a:alpha val="10000"/>
              </a:srgbClr>
            </a:outerShdw>
          </a:effectLst>
        </p:spPr>
        <p:txBody>
          <a:bodyPr/>
          <a:lstStyle/>
          <a:p>
            <a:endParaRPr lang="da-DK"/>
          </a:p>
        </p:txBody>
      </p:sp>
      <p:sp>
        <p:nvSpPr>
          <p:cNvPr id="4" name="Shape 4">
            <a:extLst>
              <a:ext uri="{FF2B5EF4-FFF2-40B4-BE49-F238E27FC236}">
                <a16:creationId xmlns:a16="http://schemas.microsoft.com/office/drawing/2014/main" id="{D825E5A7-2D1B-0887-E894-7516FEB583C1}"/>
              </a:ext>
            </a:extLst>
          </p:cNvPr>
          <p:cNvSpPr/>
          <p:nvPr/>
        </p:nvSpPr>
        <p:spPr>
          <a:xfrm>
            <a:off x="1331256" y="1471355"/>
            <a:ext cx="10562006" cy="142352"/>
          </a:xfrm>
          <a:prstGeom prst="rect">
            <a:avLst/>
          </a:prstGeom>
          <a:solidFill>
            <a:srgbClr val="1E4D2B"/>
          </a:solidFill>
          <a:ln w="12700">
            <a:solidFill>
              <a:srgbClr val="1E4D2B"/>
            </a:solidFill>
            <a:prstDash val="solid"/>
          </a:ln>
        </p:spPr>
        <p:txBody>
          <a:bodyPr/>
          <a:lstStyle/>
          <a:p>
            <a:endParaRPr lang="da-DK"/>
          </a:p>
        </p:txBody>
      </p:sp>
      <p:sp>
        <p:nvSpPr>
          <p:cNvPr id="6" name="Text 5">
            <a:extLst>
              <a:ext uri="{FF2B5EF4-FFF2-40B4-BE49-F238E27FC236}">
                <a16:creationId xmlns:a16="http://schemas.microsoft.com/office/drawing/2014/main" id="{FDFFDF7C-6CB0-BDED-ABDE-1C2D19DF2E5C}"/>
              </a:ext>
            </a:extLst>
          </p:cNvPr>
          <p:cNvSpPr/>
          <p:nvPr/>
        </p:nvSpPr>
        <p:spPr>
          <a:xfrm>
            <a:off x="1381985" y="1645049"/>
            <a:ext cx="7072053" cy="439509"/>
          </a:xfrm>
          <a:prstGeom prst="rect">
            <a:avLst/>
          </a:prstGeom>
          <a:noFill/>
          <a:ln/>
        </p:spPr>
        <p:txBody>
          <a:bodyPr wrap="square" lIns="0" tIns="0" rIns="0" bIns="0" rtlCol="0" anchor="ctr"/>
          <a:lstStyle/>
          <a:p>
            <a:r>
              <a:rPr lang="en-US" sz="2400" b="1" kern="0" spc="100" dirty="0">
                <a:solidFill>
                  <a:srgbClr val="1E4D2B"/>
                </a:solidFill>
                <a:latin typeface="Calibri" pitchFamily="34" charset="0"/>
                <a:ea typeface="Calibri" pitchFamily="34" charset="-122"/>
                <a:cs typeface="Calibri" pitchFamily="34" charset="-120"/>
              </a:rPr>
              <a:t>📍  </a:t>
            </a:r>
            <a:r>
              <a:rPr lang="en-US" sz="3600" b="1" kern="0" spc="200" dirty="0">
                <a:solidFill>
                  <a:srgbClr val="1E4D2B"/>
                </a:solidFill>
                <a:latin typeface="Calibri" pitchFamily="34" charset="0"/>
                <a:ea typeface="Calibri" pitchFamily="34" charset="-122"/>
                <a:cs typeface="Calibri" pitchFamily="34" charset="-120"/>
              </a:rPr>
              <a:t>MELLEMSTORE PROJEKTER</a:t>
            </a:r>
            <a:endParaRPr lang="en-US" sz="2400" dirty="0"/>
          </a:p>
        </p:txBody>
      </p:sp>
      <p:sp>
        <p:nvSpPr>
          <p:cNvPr id="8" name="Text 6">
            <a:extLst>
              <a:ext uri="{FF2B5EF4-FFF2-40B4-BE49-F238E27FC236}">
                <a16:creationId xmlns:a16="http://schemas.microsoft.com/office/drawing/2014/main" id="{E1F6F4A8-E5FC-E1BD-84DA-F431A1519C58}"/>
              </a:ext>
            </a:extLst>
          </p:cNvPr>
          <p:cNvSpPr/>
          <p:nvPr/>
        </p:nvSpPr>
        <p:spPr>
          <a:xfrm>
            <a:off x="1533833" y="2366836"/>
            <a:ext cx="10132799" cy="492612"/>
          </a:xfrm>
          <a:prstGeom prst="rect">
            <a:avLst/>
          </a:prstGeom>
          <a:noFill/>
          <a:ln/>
        </p:spPr>
        <p:txBody>
          <a:bodyPr wrap="square" lIns="0" tIns="0" rIns="0" bIns="0" rtlCol="0" anchor="t"/>
          <a:lstStyle/>
          <a:p>
            <a:pPr marL="342900" lvl="0" indent="-342900">
              <a:buFont typeface="Wingdings" panose="05000000000000000000" pitchFamily="2" charset="2"/>
              <a:buChar char="Ø"/>
            </a:pPr>
            <a:r>
              <a:rPr lang="da-DK" sz="3600" dirty="0"/>
              <a:t>Forbedring af vanding på udvalgte fairways og </a:t>
            </a:r>
            <a:r>
              <a:rPr lang="da-DK" sz="3600" dirty="0" err="1"/>
              <a:t>forgreens</a:t>
            </a:r>
            <a:r>
              <a:rPr lang="da-DK" sz="3600" dirty="0"/>
              <a:t> (hul 2, 7 og 13 er højeste prioritet) </a:t>
            </a:r>
          </a:p>
          <a:p>
            <a:pPr marL="342900" lvl="0" indent="-342900">
              <a:buFont typeface="Wingdings" panose="05000000000000000000" pitchFamily="2" charset="2"/>
              <a:buChar char="Ø"/>
            </a:pPr>
            <a:r>
              <a:rPr lang="da-DK" sz="3600" dirty="0"/>
              <a:t>Justering af </a:t>
            </a:r>
            <a:r>
              <a:rPr lang="da-DK" sz="3600" dirty="0" err="1"/>
              <a:t>backtee</a:t>
            </a:r>
            <a:r>
              <a:rPr lang="da-DK" sz="3600" dirty="0"/>
              <a:t> på hul 11</a:t>
            </a:r>
          </a:p>
          <a:p>
            <a:pPr marL="342900" indent="-342900">
              <a:buFont typeface="Wingdings" panose="05000000000000000000" pitchFamily="2" charset="2"/>
              <a:buChar char="Ø"/>
            </a:pPr>
            <a:r>
              <a:rPr lang="da-DK" sz="3600" dirty="0"/>
              <a:t>Kørevej ved hul 4 og 5 (kun aktuelt ved ekstern medfinansiering)</a:t>
            </a:r>
          </a:p>
          <a:p>
            <a:pPr marL="342900" indent="-342900">
              <a:buFont typeface="Wingdings" panose="05000000000000000000" pitchFamily="2" charset="2"/>
              <a:buChar char="Ø"/>
            </a:pPr>
            <a:endParaRPr lang="da-DK" sz="3200" dirty="0"/>
          </a:p>
          <a:p>
            <a:pPr lvl="0"/>
            <a:endParaRPr lang="da-DK" sz="3200" dirty="0"/>
          </a:p>
          <a:p>
            <a:r>
              <a:rPr lang="da-DK" dirty="0"/>
              <a:t> </a:t>
            </a:r>
          </a:p>
          <a:p>
            <a:pPr marL="342900" lvl="0" indent="-342900">
              <a:buFont typeface="Wingdings" panose="05000000000000000000" pitchFamily="2" charset="2"/>
              <a:buChar char="Ø"/>
            </a:pPr>
            <a:endParaRPr lang="da-DK" sz="3200" dirty="0"/>
          </a:p>
        </p:txBody>
      </p:sp>
      <p:sp>
        <p:nvSpPr>
          <p:cNvPr id="12" name="Text 8">
            <a:extLst>
              <a:ext uri="{FF2B5EF4-FFF2-40B4-BE49-F238E27FC236}">
                <a16:creationId xmlns:a16="http://schemas.microsoft.com/office/drawing/2014/main" id="{B738BB5C-5878-0A51-B17A-27C7A4C7894E}"/>
              </a:ext>
            </a:extLst>
          </p:cNvPr>
          <p:cNvSpPr/>
          <p:nvPr/>
        </p:nvSpPr>
        <p:spPr>
          <a:xfrm>
            <a:off x="1737355" y="3308114"/>
            <a:ext cx="5785662"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
        <p:nvSpPr>
          <p:cNvPr id="30" name="Text 14">
            <a:extLst>
              <a:ext uri="{FF2B5EF4-FFF2-40B4-BE49-F238E27FC236}">
                <a16:creationId xmlns:a16="http://schemas.microsoft.com/office/drawing/2014/main" id="{1E0C3D69-3D30-7E1F-8D2A-2C7C0042E2CC}"/>
              </a:ext>
            </a:extLst>
          </p:cNvPr>
          <p:cNvSpPr/>
          <p:nvPr/>
        </p:nvSpPr>
        <p:spPr>
          <a:xfrm>
            <a:off x="1788455" y="5974830"/>
            <a:ext cx="5641043"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
        <p:nvSpPr>
          <p:cNvPr id="37" name="Text 19">
            <a:extLst>
              <a:ext uri="{FF2B5EF4-FFF2-40B4-BE49-F238E27FC236}">
                <a16:creationId xmlns:a16="http://schemas.microsoft.com/office/drawing/2014/main" id="{A4A4AD5D-CE23-513D-97C9-E7B0B8171F7B}"/>
              </a:ext>
            </a:extLst>
          </p:cNvPr>
          <p:cNvSpPr/>
          <p:nvPr/>
        </p:nvSpPr>
        <p:spPr>
          <a:xfrm>
            <a:off x="7356758" y="3025836"/>
            <a:ext cx="2194560" cy="640080"/>
          </a:xfrm>
          <a:prstGeom prst="rect">
            <a:avLst/>
          </a:prstGeom>
          <a:noFill/>
          <a:ln/>
        </p:spPr>
        <p:txBody>
          <a:bodyPr wrap="square" lIns="0" tIns="0" rIns="0" bIns="0" rtlCol="0" anchor="t"/>
          <a:lstStyle/>
          <a:p>
            <a:pPr marL="0" indent="0">
              <a:buNone/>
            </a:pPr>
            <a:endParaRPr lang="en-US" sz="1200"/>
          </a:p>
        </p:txBody>
      </p:sp>
      <p:sp>
        <p:nvSpPr>
          <p:cNvPr id="11" name="Text 26">
            <a:extLst>
              <a:ext uri="{FF2B5EF4-FFF2-40B4-BE49-F238E27FC236}">
                <a16:creationId xmlns:a16="http://schemas.microsoft.com/office/drawing/2014/main" id="{9FB51660-07E7-8582-FB27-8394F6951FEB}"/>
              </a:ext>
            </a:extLst>
          </p:cNvPr>
          <p:cNvSpPr/>
          <p:nvPr/>
        </p:nvSpPr>
        <p:spPr>
          <a:xfrm>
            <a:off x="1381985" y="6432030"/>
            <a:ext cx="8732385" cy="365760"/>
          </a:xfrm>
          <a:prstGeom prst="rect">
            <a:avLst/>
          </a:prstGeom>
          <a:noFill/>
          <a:ln/>
        </p:spPr>
        <p:txBody>
          <a:bodyPr wrap="square" lIns="0" tIns="0" rIns="0" bIns="0" rtlCol="0" anchor="ctr"/>
          <a:lstStyle/>
          <a:p>
            <a:pPr marL="0" indent="0">
              <a:buNone/>
            </a:pPr>
            <a:r>
              <a:rPr lang="en-US" sz="2400" i="1">
                <a:solidFill>
                  <a:srgbClr val="5A6B5A"/>
                </a:solidFill>
                <a:latin typeface="Calibri" pitchFamily="34" charset="0"/>
                <a:ea typeface="Calibri" pitchFamily="34" charset="-122"/>
                <a:cs typeface="Calibri" pitchFamily="34" charset="-120"/>
              </a:rPr>
              <a:t>Kræver yderligere analyse og finansieringsafdækning inden beslutning</a:t>
            </a:r>
            <a:endParaRPr lang="en-US" sz="2400"/>
          </a:p>
        </p:txBody>
      </p:sp>
    </p:spTree>
    <p:extLst>
      <p:ext uri="{BB962C8B-B14F-4D97-AF65-F5344CB8AC3E}">
        <p14:creationId xmlns:p14="http://schemas.microsoft.com/office/powerpoint/2010/main" val="314025528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FEFB4-F920-636C-84A3-608A83943658}"/>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8E4659DE-06C6-571D-5161-D849FC485337}"/>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492A2385-C06F-5224-C294-1122A564D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20" name="Titel 1">
            <a:extLst>
              <a:ext uri="{FF2B5EF4-FFF2-40B4-BE49-F238E27FC236}">
                <a16:creationId xmlns:a16="http://schemas.microsoft.com/office/drawing/2014/main" id="{0A45EC87-1D43-FE81-9AB8-C97742DC71F5}"/>
              </a:ext>
            </a:extLst>
          </p:cNvPr>
          <p:cNvSpPr>
            <a:spLocks noGrp="1"/>
          </p:cNvSpPr>
          <p:nvPr>
            <p:ph type="title"/>
          </p:nvPr>
        </p:nvSpPr>
        <p:spPr>
          <a:xfrm>
            <a:off x="1152630" y="361027"/>
            <a:ext cx="9886739" cy="1330840"/>
          </a:xfrm>
        </p:spPr>
        <p:txBody>
          <a:bodyPr vert="horz" lIns="91440" tIns="45720" rIns="91440" bIns="45720" rtlCol="0" anchor="ctr">
            <a:normAutofit fontScale="90000"/>
          </a:bodyPr>
          <a:lstStyle/>
          <a:p>
            <a:r>
              <a:rPr lang="en-US" sz="5300" b="1"/>
              <a:t>FREMTIDIGE</a:t>
            </a:r>
            <a:r>
              <a:rPr lang="en-US" sz="5300" b="1" kern="1200">
                <a:solidFill>
                  <a:schemeClr val="tx1"/>
                </a:solidFill>
                <a:latin typeface="+mj-lt"/>
                <a:ea typeface="+mj-ea"/>
                <a:cs typeface="+mj-cs"/>
              </a:rPr>
              <a:t> PROJEKTER</a:t>
            </a:r>
            <a:br>
              <a:rPr lang="en-US" sz="5300" b="1" kern="1200">
                <a:solidFill>
                  <a:schemeClr val="tx1"/>
                </a:solidFill>
                <a:latin typeface="+mj-lt"/>
                <a:ea typeface="+mj-ea"/>
                <a:cs typeface="+mj-cs"/>
              </a:rPr>
            </a:br>
            <a:r>
              <a:rPr lang="en-US" b="1" i="1" kern="1200">
                <a:solidFill>
                  <a:schemeClr val="tx1"/>
                </a:solidFill>
                <a:latin typeface="+mj-lt"/>
                <a:ea typeface="+mj-ea"/>
                <a:cs typeface="+mj-cs"/>
              </a:rPr>
              <a:t>PLANER OG MULIGHEDER PÅ LANG SIGT</a:t>
            </a:r>
            <a:br>
              <a:rPr lang="en-US" sz="2000" b="1" i="1" kern="1200">
                <a:solidFill>
                  <a:schemeClr val="tx1"/>
                </a:solidFill>
                <a:latin typeface="+mj-lt"/>
                <a:ea typeface="+mj-ea"/>
                <a:cs typeface="+mj-cs"/>
              </a:rPr>
            </a:br>
            <a:br>
              <a:rPr lang="en-US" sz="2000" b="1" i="1" kern="1200">
                <a:solidFill>
                  <a:schemeClr val="tx1"/>
                </a:solidFill>
                <a:latin typeface="+mj-lt"/>
                <a:ea typeface="+mj-ea"/>
                <a:cs typeface="+mj-cs"/>
              </a:rPr>
            </a:br>
            <a:endParaRPr lang="en-US" sz="2400" b="1" i="1" kern="1200">
              <a:solidFill>
                <a:schemeClr val="tx1"/>
              </a:solidFill>
              <a:latin typeface="+mj-lt"/>
              <a:ea typeface="+mj-ea"/>
              <a:cs typeface="+mj-cs"/>
            </a:endParaRPr>
          </a:p>
        </p:txBody>
      </p:sp>
      <p:sp>
        <p:nvSpPr>
          <p:cNvPr id="2" name="Shape 3">
            <a:extLst>
              <a:ext uri="{FF2B5EF4-FFF2-40B4-BE49-F238E27FC236}">
                <a16:creationId xmlns:a16="http://schemas.microsoft.com/office/drawing/2014/main" id="{D6471103-35E9-08BC-9044-2B00510EB109}"/>
              </a:ext>
            </a:extLst>
          </p:cNvPr>
          <p:cNvSpPr/>
          <p:nvPr/>
        </p:nvSpPr>
        <p:spPr>
          <a:xfrm>
            <a:off x="1331256" y="1471355"/>
            <a:ext cx="10586057" cy="4878635"/>
          </a:xfrm>
          <a:prstGeom prst="rect">
            <a:avLst/>
          </a:prstGeom>
          <a:solidFill>
            <a:srgbClr val="FFFFFF"/>
          </a:solidFill>
          <a:ln w="12700">
            <a:solidFill>
              <a:srgbClr val="DDDDDD"/>
            </a:solidFill>
            <a:prstDash val="solid"/>
          </a:ln>
          <a:effectLst>
            <a:outerShdw blurRad="101600" dist="25400" dir="8100000" algn="bl" rotWithShape="0">
              <a:srgbClr val="000000">
                <a:alpha val="10000"/>
              </a:srgbClr>
            </a:outerShdw>
          </a:effectLst>
        </p:spPr>
        <p:txBody>
          <a:bodyPr/>
          <a:lstStyle/>
          <a:p>
            <a:endParaRPr lang="da-DK"/>
          </a:p>
        </p:txBody>
      </p:sp>
      <p:sp>
        <p:nvSpPr>
          <p:cNvPr id="8" name="Text 6">
            <a:extLst>
              <a:ext uri="{FF2B5EF4-FFF2-40B4-BE49-F238E27FC236}">
                <a16:creationId xmlns:a16="http://schemas.microsoft.com/office/drawing/2014/main" id="{3999DE3D-52F1-5771-6701-9D30727C67A8}"/>
              </a:ext>
            </a:extLst>
          </p:cNvPr>
          <p:cNvSpPr/>
          <p:nvPr/>
        </p:nvSpPr>
        <p:spPr>
          <a:xfrm>
            <a:off x="2001509" y="2155994"/>
            <a:ext cx="9702750" cy="492612"/>
          </a:xfrm>
          <a:prstGeom prst="rect">
            <a:avLst/>
          </a:prstGeom>
          <a:noFill/>
          <a:ln/>
        </p:spPr>
        <p:txBody>
          <a:bodyPr wrap="square" lIns="0" tIns="0" rIns="0" bIns="0" rtlCol="0" anchor="t"/>
          <a:lstStyle/>
          <a:p>
            <a:r>
              <a:rPr lang="da-DK" sz="3600" dirty="0"/>
              <a:t>Flytning og opgradering af </a:t>
            </a:r>
            <a:r>
              <a:rPr lang="da-DK" sz="3600" dirty="0" err="1"/>
              <a:t>indspilsområdet</a:t>
            </a:r>
            <a:endParaRPr lang="da-DK" sz="3600" dirty="0"/>
          </a:p>
          <a:p>
            <a:r>
              <a:rPr lang="da-DK" sz="3600" dirty="0"/>
              <a:t>Udvikling af træningsfaciliteter, herunder </a:t>
            </a:r>
            <a:r>
              <a:rPr lang="da-DK" sz="3600" dirty="0" err="1"/>
              <a:t>Trackman</a:t>
            </a:r>
            <a:r>
              <a:rPr lang="da-DK" sz="3600" dirty="0"/>
              <a:t>-løsninger og evt. nyt </a:t>
            </a:r>
            <a:r>
              <a:rPr lang="da-DK" sz="3600" dirty="0" err="1"/>
              <a:t>Trackman</a:t>
            </a:r>
            <a:r>
              <a:rPr lang="da-DK" sz="3600" dirty="0"/>
              <a:t>-hus</a:t>
            </a:r>
          </a:p>
          <a:p>
            <a:r>
              <a:rPr lang="da-DK" sz="3600" dirty="0"/>
              <a:t>Opgradering af </a:t>
            </a:r>
            <a:r>
              <a:rPr lang="da-DK" sz="3600" dirty="0" err="1"/>
              <a:t>korthulsbanen</a:t>
            </a:r>
            <a:r>
              <a:rPr lang="da-DK" sz="3600" dirty="0"/>
              <a:t> med nye huller, teesteder og bunker</a:t>
            </a:r>
          </a:p>
          <a:p>
            <a:r>
              <a:rPr lang="da-DK" sz="3600" dirty="0"/>
              <a:t>Solcelleanlæg på greenkeepergården (revurderes i lyset af ændrede vilkår/afgifter)</a:t>
            </a:r>
          </a:p>
          <a:p>
            <a:r>
              <a:rPr lang="da-DK" sz="3600" dirty="0"/>
              <a:t>Lys på </a:t>
            </a:r>
            <a:r>
              <a:rPr lang="da-DK" sz="3600" dirty="0" err="1"/>
              <a:t>bagni</a:t>
            </a:r>
            <a:endParaRPr lang="da-DK" sz="3600" dirty="0"/>
          </a:p>
          <a:p>
            <a:pPr marL="342900" indent="-342900">
              <a:buFont typeface="Wingdings" panose="05000000000000000000" pitchFamily="2" charset="2"/>
              <a:buChar char="Ø"/>
            </a:pPr>
            <a:endParaRPr lang="da-DK" sz="3200" dirty="0"/>
          </a:p>
          <a:p>
            <a:pPr lvl="0"/>
            <a:endParaRPr lang="da-DK" sz="3200" dirty="0"/>
          </a:p>
          <a:p>
            <a:r>
              <a:rPr lang="da-DK" dirty="0"/>
              <a:t> </a:t>
            </a:r>
          </a:p>
          <a:p>
            <a:pPr marL="342900" lvl="0" indent="-342900">
              <a:buFont typeface="Wingdings" panose="05000000000000000000" pitchFamily="2" charset="2"/>
              <a:buChar char="Ø"/>
            </a:pPr>
            <a:endParaRPr lang="da-DK" sz="3200" dirty="0"/>
          </a:p>
        </p:txBody>
      </p:sp>
      <p:sp>
        <p:nvSpPr>
          <p:cNvPr id="12" name="Text 8">
            <a:extLst>
              <a:ext uri="{FF2B5EF4-FFF2-40B4-BE49-F238E27FC236}">
                <a16:creationId xmlns:a16="http://schemas.microsoft.com/office/drawing/2014/main" id="{7B857793-B5DD-D0B2-4F06-41231D3022EF}"/>
              </a:ext>
            </a:extLst>
          </p:cNvPr>
          <p:cNvSpPr/>
          <p:nvPr/>
        </p:nvSpPr>
        <p:spPr>
          <a:xfrm>
            <a:off x="1737355" y="3308114"/>
            <a:ext cx="5785662"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
        <p:nvSpPr>
          <p:cNvPr id="30" name="Text 14">
            <a:extLst>
              <a:ext uri="{FF2B5EF4-FFF2-40B4-BE49-F238E27FC236}">
                <a16:creationId xmlns:a16="http://schemas.microsoft.com/office/drawing/2014/main" id="{60ED2756-78A1-B302-DDF1-40DF9E6E4AF9}"/>
              </a:ext>
            </a:extLst>
          </p:cNvPr>
          <p:cNvSpPr/>
          <p:nvPr/>
        </p:nvSpPr>
        <p:spPr>
          <a:xfrm>
            <a:off x="1788455" y="5974830"/>
            <a:ext cx="5641043"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sp>
        <p:nvSpPr>
          <p:cNvPr id="37" name="Text 19">
            <a:extLst>
              <a:ext uri="{FF2B5EF4-FFF2-40B4-BE49-F238E27FC236}">
                <a16:creationId xmlns:a16="http://schemas.microsoft.com/office/drawing/2014/main" id="{E1FBFE19-22B0-3691-CFBA-86E69A882C4A}"/>
              </a:ext>
            </a:extLst>
          </p:cNvPr>
          <p:cNvSpPr/>
          <p:nvPr/>
        </p:nvSpPr>
        <p:spPr>
          <a:xfrm>
            <a:off x="7356758" y="3025836"/>
            <a:ext cx="2194560" cy="640080"/>
          </a:xfrm>
          <a:prstGeom prst="rect">
            <a:avLst/>
          </a:prstGeom>
          <a:noFill/>
          <a:ln/>
        </p:spPr>
        <p:txBody>
          <a:bodyPr wrap="square" lIns="0" tIns="0" rIns="0" bIns="0" rtlCol="0" anchor="t"/>
          <a:lstStyle/>
          <a:p>
            <a:pPr marL="0" indent="0">
              <a:buNone/>
            </a:pPr>
            <a:endParaRPr lang="en-US" sz="1200"/>
          </a:p>
        </p:txBody>
      </p:sp>
      <p:sp>
        <p:nvSpPr>
          <p:cNvPr id="7" name="Text 17">
            <a:extLst>
              <a:ext uri="{FF2B5EF4-FFF2-40B4-BE49-F238E27FC236}">
                <a16:creationId xmlns:a16="http://schemas.microsoft.com/office/drawing/2014/main" id="{2BBD9D91-48E4-8BF4-979F-984E426C7D75}"/>
              </a:ext>
            </a:extLst>
          </p:cNvPr>
          <p:cNvSpPr/>
          <p:nvPr/>
        </p:nvSpPr>
        <p:spPr>
          <a:xfrm>
            <a:off x="1404844" y="1691867"/>
            <a:ext cx="8146474" cy="365760"/>
          </a:xfrm>
          <a:prstGeom prst="rect">
            <a:avLst/>
          </a:prstGeom>
          <a:noFill/>
          <a:ln/>
        </p:spPr>
        <p:txBody>
          <a:bodyPr wrap="square" lIns="0" tIns="0" rIns="0" bIns="0" rtlCol="0" anchor="ctr"/>
          <a:lstStyle/>
          <a:p>
            <a:r>
              <a:rPr lang="en-US" sz="3200" b="1" kern="0" spc="100" dirty="0">
                <a:solidFill>
                  <a:srgbClr val="8B6914"/>
                </a:solidFill>
                <a:latin typeface="Calibri" pitchFamily="34" charset="0"/>
                <a:ea typeface="Calibri" pitchFamily="34" charset="-122"/>
                <a:cs typeface="Calibri" pitchFamily="34" charset="-120"/>
              </a:rPr>
              <a:t>🔭  </a:t>
            </a:r>
            <a:r>
              <a:rPr lang="en-US" sz="3600" b="1" kern="0" spc="100" dirty="0">
                <a:solidFill>
                  <a:srgbClr val="8B6914"/>
                </a:solidFill>
                <a:latin typeface="Calibri" pitchFamily="34" charset="0"/>
                <a:ea typeface="Calibri" pitchFamily="34" charset="-122"/>
                <a:cs typeface="Calibri" pitchFamily="34" charset="-120"/>
              </a:rPr>
              <a:t>STØRRE FREMTIDSPROJEKTER</a:t>
            </a:r>
            <a:endParaRPr lang="en-US" sz="3200" dirty="0"/>
          </a:p>
        </p:txBody>
      </p:sp>
      <p:pic>
        <p:nvPicPr>
          <p:cNvPr id="9" name="Image 0" descr="preencoded.png">
            <a:extLst>
              <a:ext uri="{FF2B5EF4-FFF2-40B4-BE49-F238E27FC236}">
                <a16:creationId xmlns:a16="http://schemas.microsoft.com/office/drawing/2014/main" id="{63DAEA94-1EDF-D8E6-7AB3-9D56BAE1CCA3}"/>
              </a:ext>
            </a:extLst>
          </p:cNvPr>
          <p:cNvPicPr>
            <a:picLocks noChangeAspect="1"/>
          </p:cNvPicPr>
          <p:nvPr/>
        </p:nvPicPr>
        <p:blipFill>
          <a:blip r:embed="rId5"/>
          <a:stretch>
            <a:fillRect/>
          </a:stretch>
        </p:blipFill>
        <p:spPr>
          <a:xfrm>
            <a:off x="1470024" y="2305085"/>
            <a:ext cx="317070" cy="317070"/>
          </a:xfrm>
          <a:prstGeom prst="rect">
            <a:avLst/>
          </a:prstGeom>
        </p:spPr>
      </p:pic>
      <p:pic>
        <p:nvPicPr>
          <p:cNvPr id="11" name="Image 0" descr="preencoded.png">
            <a:extLst>
              <a:ext uri="{FF2B5EF4-FFF2-40B4-BE49-F238E27FC236}">
                <a16:creationId xmlns:a16="http://schemas.microsoft.com/office/drawing/2014/main" id="{E6B8489D-2932-FDDB-5A9E-0F0936CC165A}"/>
              </a:ext>
            </a:extLst>
          </p:cNvPr>
          <p:cNvPicPr>
            <a:picLocks noChangeAspect="1"/>
          </p:cNvPicPr>
          <p:nvPr/>
        </p:nvPicPr>
        <p:blipFill>
          <a:blip r:embed="rId5"/>
          <a:stretch>
            <a:fillRect/>
          </a:stretch>
        </p:blipFill>
        <p:spPr>
          <a:xfrm>
            <a:off x="1465250" y="3925728"/>
            <a:ext cx="317070" cy="317070"/>
          </a:xfrm>
          <a:prstGeom prst="rect">
            <a:avLst/>
          </a:prstGeom>
        </p:spPr>
      </p:pic>
      <p:pic>
        <p:nvPicPr>
          <p:cNvPr id="13" name="Image 0" descr="preencoded.png">
            <a:extLst>
              <a:ext uri="{FF2B5EF4-FFF2-40B4-BE49-F238E27FC236}">
                <a16:creationId xmlns:a16="http://schemas.microsoft.com/office/drawing/2014/main" id="{897785E6-A10F-290C-DC95-452CE94F03B3}"/>
              </a:ext>
            </a:extLst>
          </p:cNvPr>
          <p:cNvPicPr>
            <a:picLocks noChangeAspect="1"/>
          </p:cNvPicPr>
          <p:nvPr/>
        </p:nvPicPr>
        <p:blipFill>
          <a:blip r:embed="rId5"/>
          <a:stretch>
            <a:fillRect/>
          </a:stretch>
        </p:blipFill>
        <p:spPr>
          <a:xfrm>
            <a:off x="1465250" y="2840772"/>
            <a:ext cx="317070" cy="317070"/>
          </a:xfrm>
          <a:prstGeom prst="rect">
            <a:avLst/>
          </a:prstGeom>
        </p:spPr>
      </p:pic>
      <p:pic>
        <p:nvPicPr>
          <p:cNvPr id="14" name="Image 0" descr="preencoded.png">
            <a:extLst>
              <a:ext uri="{FF2B5EF4-FFF2-40B4-BE49-F238E27FC236}">
                <a16:creationId xmlns:a16="http://schemas.microsoft.com/office/drawing/2014/main" id="{6AF23859-CA08-9EE5-5FCE-3A3E10368DE7}"/>
              </a:ext>
            </a:extLst>
          </p:cNvPr>
          <p:cNvPicPr>
            <a:picLocks noChangeAspect="1"/>
          </p:cNvPicPr>
          <p:nvPr/>
        </p:nvPicPr>
        <p:blipFill>
          <a:blip r:embed="rId5"/>
          <a:stretch>
            <a:fillRect/>
          </a:stretch>
        </p:blipFill>
        <p:spPr>
          <a:xfrm>
            <a:off x="1465250" y="5010684"/>
            <a:ext cx="317070" cy="317070"/>
          </a:xfrm>
          <a:prstGeom prst="rect">
            <a:avLst/>
          </a:prstGeom>
        </p:spPr>
      </p:pic>
      <p:pic>
        <p:nvPicPr>
          <p:cNvPr id="15" name="Image 0" descr="preencoded.png">
            <a:extLst>
              <a:ext uri="{FF2B5EF4-FFF2-40B4-BE49-F238E27FC236}">
                <a16:creationId xmlns:a16="http://schemas.microsoft.com/office/drawing/2014/main" id="{774A9AA8-2D47-1D08-9506-422BF19346C7}"/>
              </a:ext>
            </a:extLst>
          </p:cNvPr>
          <p:cNvPicPr>
            <a:picLocks noChangeAspect="1"/>
          </p:cNvPicPr>
          <p:nvPr/>
        </p:nvPicPr>
        <p:blipFill>
          <a:blip r:embed="rId5"/>
          <a:stretch>
            <a:fillRect/>
          </a:stretch>
        </p:blipFill>
        <p:spPr>
          <a:xfrm>
            <a:off x="1465250" y="6132247"/>
            <a:ext cx="317070" cy="317070"/>
          </a:xfrm>
          <a:prstGeom prst="rect">
            <a:avLst/>
          </a:prstGeom>
        </p:spPr>
      </p:pic>
      <p:sp>
        <p:nvSpPr>
          <p:cNvPr id="16" name="Shape 16">
            <a:extLst>
              <a:ext uri="{FF2B5EF4-FFF2-40B4-BE49-F238E27FC236}">
                <a16:creationId xmlns:a16="http://schemas.microsoft.com/office/drawing/2014/main" id="{9CCEE5B4-7770-43A7-A73B-037D5A750A5B}"/>
              </a:ext>
            </a:extLst>
          </p:cNvPr>
          <p:cNvSpPr/>
          <p:nvPr/>
        </p:nvSpPr>
        <p:spPr>
          <a:xfrm>
            <a:off x="1331256" y="1469102"/>
            <a:ext cx="10562007" cy="123438"/>
          </a:xfrm>
          <a:prstGeom prst="rect">
            <a:avLst/>
          </a:prstGeom>
          <a:solidFill>
            <a:srgbClr val="8B6914"/>
          </a:solidFill>
          <a:ln w="12700">
            <a:solidFill>
              <a:srgbClr val="8B6914"/>
            </a:solidFill>
            <a:prstDash val="solid"/>
          </a:ln>
        </p:spPr>
        <p:txBody>
          <a:bodyPr/>
          <a:lstStyle/>
          <a:p>
            <a:endParaRPr lang="da-DK"/>
          </a:p>
        </p:txBody>
      </p:sp>
      <p:sp>
        <p:nvSpPr>
          <p:cNvPr id="17" name="Text 26">
            <a:extLst>
              <a:ext uri="{FF2B5EF4-FFF2-40B4-BE49-F238E27FC236}">
                <a16:creationId xmlns:a16="http://schemas.microsoft.com/office/drawing/2014/main" id="{84FD8081-97A2-0031-D505-2C6D90439A75}"/>
              </a:ext>
            </a:extLst>
          </p:cNvPr>
          <p:cNvSpPr/>
          <p:nvPr/>
        </p:nvSpPr>
        <p:spPr>
          <a:xfrm>
            <a:off x="1259603" y="6473424"/>
            <a:ext cx="8732385" cy="365760"/>
          </a:xfrm>
          <a:prstGeom prst="rect">
            <a:avLst/>
          </a:prstGeom>
          <a:noFill/>
          <a:ln/>
        </p:spPr>
        <p:txBody>
          <a:bodyPr wrap="square" lIns="0" tIns="0" rIns="0" bIns="0" rtlCol="0" anchor="ctr"/>
          <a:lstStyle/>
          <a:p>
            <a:pPr marL="0" indent="0">
              <a:buNone/>
            </a:pPr>
            <a:r>
              <a:rPr lang="en-US" sz="2400" i="1" dirty="0" err="1">
                <a:solidFill>
                  <a:srgbClr val="5A6B5A"/>
                </a:solidFill>
                <a:latin typeface="Calibri" pitchFamily="34" charset="0"/>
                <a:ea typeface="Calibri" pitchFamily="34" charset="-122"/>
                <a:cs typeface="Calibri" pitchFamily="34" charset="-120"/>
              </a:rPr>
              <a:t>Kræver</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yderligere</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analyse</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og</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finansieringsafdækning</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inden</a:t>
            </a:r>
            <a:r>
              <a:rPr lang="en-US" sz="2400" i="1" dirty="0">
                <a:solidFill>
                  <a:srgbClr val="5A6B5A"/>
                </a:solidFill>
                <a:latin typeface="Calibri" pitchFamily="34" charset="0"/>
                <a:ea typeface="Calibri" pitchFamily="34" charset="-122"/>
                <a:cs typeface="Calibri" pitchFamily="34" charset="-120"/>
              </a:rPr>
              <a:t> </a:t>
            </a:r>
            <a:r>
              <a:rPr lang="en-US" sz="2400" i="1" dirty="0" err="1">
                <a:solidFill>
                  <a:srgbClr val="5A6B5A"/>
                </a:solidFill>
                <a:latin typeface="Calibri" pitchFamily="34" charset="0"/>
                <a:ea typeface="Calibri" pitchFamily="34" charset="-122"/>
                <a:cs typeface="Calibri" pitchFamily="34" charset="-120"/>
              </a:rPr>
              <a:t>beslutning</a:t>
            </a:r>
            <a:endParaRPr lang="en-US" sz="2400" dirty="0"/>
          </a:p>
        </p:txBody>
      </p:sp>
    </p:spTree>
    <p:extLst>
      <p:ext uri="{BB962C8B-B14F-4D97-AF65-F5344CB8AC3E}">
        <p14:creationId xmlns:p14="http://schemas.microsoft.com/office/powerpoint/2010/main" val="18923856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AA97C-BAB9-8641-B5C4-E4CC87EE2FE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BF088E3-956C-CA1D-8AA9-A292443DEFEF}"/>
              </a:ext>
            </a:extLst>
          </p:cNvPr>
          <p:cNvSpPr>
            <a:spLocks noGrp="1"/>
          </p:cNvSpPr>
          <p:nvPr>
            <p:ph type="title"/>
          </p:nvPr>
        </p:nvSpPr>
        <p:spPr>
          <a:xfrm>
            <a:off x="7590647" y="2835457"/>
            <a:ext cx="6781800" cy="1338696"/>
          </a:xfrm>
        </p:spPr>
        <p:txBody>
          <a:bodyPr vert="horz" lIns="91440" tIns="45720" rIns="91440" bIns="45720" rtlCol="0" anchor="ctr">
            <a:normAutofit fontScale="90000"/>
          </a:bodyPr>
          <a:lstStyle/>
          <a:p>
            <a:r>
              <a:rPr lang="en-US" sz="6600" b="1"/>
              <a:t>MEDLEMS</a:t>
            </a:r>
            <a:br>
              <a:rPr lang="en-US" sz="6600" b="1"/>
            </a:br>
            <a:r>
              <a:rPr lang="en-US" sz="6600" b="1"/>
              <a:t>UDVIKLING</a:t>
            </a:r>
          </a:p>
        </p:txBody>
      </p:sp>
      <p:pic>
        <p:nvPicPr>
          <p:cNvPr id="5" name="Pladsholder til indhold 4">
            <a:extLst>
              <a:ext uri="{FF2B5EF4-FFF2-40B4-BE49-F238E27FC236}">
                <a16:creationId xmlns:a16="http://schemas.microsoft.com/office/drawing/2014/main" id="{6F158103-F152-A680-2C01-03F52FA11644}"/>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1521" r="665"/>
          <a:stretch>
            <a:fillRect/>
          </a:stretch>
        </p:blipFill>
        <p:spPr>
          <a:xfrm>
            <a:off x="0" y="10"/>
            <a:ext cx="7115175"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4A54386A-1B53-CAF4-63DC-5A7B60ABDD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10110037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08385-EC6B-8809-CD5C-CFE96B1F92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83C12DA-C689-3C36-4022-74ACAE15B475}"/>
              </a:ext>
            </a:extLst>
          </p:cNvPr>
          <p:cNvSpPr>
            <a:spLocks noGrp="1"/>
          </p:cNvSpPr>
          <p:nvPr>
            <p:ph type="title"/>
          </p:nvPr>
        </p:nvSpPr>
        <p:spPr>
          <a:xfrm>
            <a:off x="1589897" y="16057"/>
            <a:ext cx="6781800" cy="1338696"/>
          </a:xfrm>
        </p:spPr>
        <p:txBody>
          <a:bodyPr vert="horz" lIns="91440" tIns="45720" rIns="91440" bIns="45720" rtlCol="0" anchor="ctr">
            <a:normAutofit fontScale="90000"/>
          </a:bodyPr>
          <a:lstStyle/>
          <a:p>
            <a:r>
              <a:rPr lang="en-US" sz="6600" b="1" dirty="0"/>
              <a:t>MEDLEMSUDVIKLING</a:t>
            </a:r>
          </a:p>
        </p:txBody>
      </p:sp>
      <p:pic>
        <p:nvPicPr>
          <p:cNvPr id="5" name="Pladsholder til indhold 4">
            <a:extLst>
              <a:ext uri="{FF2B5EF4-FFF2-40B4-BE49-F238E27FC236}">
                <a16:creationId xmlns:a16="http://schemas.microsoft.com/office/drawing/2014/main" id="{63047DFF-C86D-F58E-E120-36ED73546370}"/>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8DB16886-FBEB-F72D-513C-3A9E110EAF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10" name="Billede 9">
            <a:extLst>
              <a:ext uri="{FF2B5EF4-FFF2-40B4-BE49-F238E27FC236}">
                <a16:creationId xmlns:a16="http://schemas.microsoft.com/office/drawing/2014/main" id="{4E5AF1FA-B93E-D1EF-7494-F865A1D90410}"/>
              </a:ext>
            </a:extLst>
          </p:cNvPr>
          <p:cNvPicPr>
            <a:picLocks noChangeAspect="1"/>
          </p:cNvPicPr>
          <p:nvPr/>
        </p:nvPicPr>
        <p:blipFill>
          <a:blip r:embed="rId5"/>
          <a:stretch>
            <a:fillRect/>
          </a:stretch>
        </p:blipFill>
        <p:spPr>
          <a:xfrm>
            <a:off x="2437016" y="1165041"/>
            <a:ext cx="7728755" cy="5359448"/>
          </a:xfrm>
          <a:prstGeom prst="rect">
            <a:avLst/>
          </a:prstGeom>
        </p:spPr>
      </p:pic>
      <p:sp>
        <p:nvSpPr>
          <p:cNvPr id="4" name="Rectangle 3">
            <a:extLst>
              <a:ext uri="{FF2B5EF4-FFF2-40B4-BE49-F238E27FC236}">
                <a16:creationId xmlns:a16="http://schemas.microsoft.com/office/drawing/2014/main" id="{9F2936B0-608B-30E9-2F7C-0F179E2E0A89}"/>
              </a:ext>
            </a:extLst>
          </p:cNvPr>
          <p:cNvSpPr/>
          <p:nvPr/>
        </p:nvSpPr>
        <p:spPr>
          <a:xfrm>
            <a:off x="7477124" y="2322231"/>
            <a:ext cx="2688647" cy="3630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3">
            <a:extLst>
              <a:ext uri="{FF2B5EF4-FFF2-40B4-BE49-F238E27FC236}">
                <a16:creationId xmlns:a16="http://schemas.microsoft.com/office/drawing/2014/main" id="{9F2936B0-608B-30E9-2F7C-0F179E2E0A89}"/>
              </a:ext>
            </a:extLst>
          </p:cNvPr>
          <p:cNvSpPr/>
          <p:nvPr/>
        </p:nvSpPr>
        <p:spPr>
          <a:xfrm>
            <a:off x="6124576" y="4597853"/>
            <a:ext cx="4041196" cy="3630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7907147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7B405-862A-9F49-7529-0CD6174F9617}"/>
            </a:ext>
          </a:extLst>
        </p:cNvPr>
        <p:cNvGrpSpPr/>
        <p:nvPr/>
      </p:nvGrpSpPr>
      <p:grpSpPr>
        <a:xfrm>
          <a:off x="0" y="0"/>
          <a:ext cx="0" cy="0"/>
          <a:chOff x="0" y="0"/>
          <a:chExt cx="0" cy="0"/>
        </a:xfrm>
      </p:grpSpPr>
      <p:pic>
        <p:nvPicPr>
          <p:cNvPr id="8" name="Billede 7" descr="Et billede, der indeholder tekst, skærmbillede, linje/række, Kurve&#10;&#10;AI-genereret indhold kan være ukorrekt.">
            <a:extLst>
              <a:ext uri="{FF2B5EF4-FFF2-40B4-BE49-F238E27FC236}">
                <a16:creationId xmlns:a16="http://schemas.microsoft.com/office/drawing/2014/main" id="{8ECD049B-EAC6-27F2-0103-8E0F2F9D1E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7891" y="1305872"/>
            <a:ext cx="7523018" cy="5355095"/>
          </a:xfrm>
          <a:prstGeom prst="rect">
            <a:avLst/>
          </a:prstGeom>
        </p:spPr>
      </p:pic>
      <p:sp>
        <p:nvSpPr>
          <p:cNvPr id="2" name="Titel 1">
            <a:extLst>
              <a:ext uri="{FF2B5EF4-FFF2-40B4-BE49-F238E27FC236}">
                <a16:creationId xmlns:a16="http://schemas.microsoft.com/office/drawing/2014/main" id="{A5288E26-5359-8D24-FCEF-862F33F96D30}"/>
              </a:ext>
            </a:extLst>
          </p:cNvPr>
          <p:cNvSpPr>
            <a:spLocks noGrp="1"/>
          </p:cNvSpPr>
          <p:nvPr>
            <p:ph type="title"/>
          </p:nvPr>
        </p:nvSpPr>
        <p:spPr>
          <a:xfrm>
            <a:off x="1589897" y="155468"/>
            <a:ext cx="8801012" cy="1338696"/>
          </a:xfrm>
        </p:spPr>
        <p:txBody>
          <a:bodyPr vert="horz" lIns="91440" tIns="45720" rIns="91440" bIns="45720" rtlCol="0" anchor="ctr">
            <a:normAutofit fontScale="90000"/>
          </a:bodyPr>
          <a:lstStyle/>
          <a:p>
            <a:r>
              <a:rPr lang="en-US" sz="6600" b="1"/>
              <a:t>AMBASSADØR SCORE 2025</a:t>
            </a:r>
          </a:p>
        </p:txBody>
      </p:sp>
      <p:pic>
        <p:nvPicPr>
          <p:cNvPr id="5" name="Pladsholder til indhold 4">
            <a:extLst>
              <a:ext uri="{FF2B5EF4-FFF2-40B4-BE49-F238E27FC236}">
                <a16:creationId xmlns:a16="http://schemas.microsoft.com/office/drawing/2014/main" id="{24009D0D-9347-FBC8-7F3E-E081BD0B0011}"/>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rcRect l="34050" r="30696"/>
          <a:stretch>
            <a:fillRect/>
          </a:stretch>
        </p:blipFill>
        <p:spPr>
          <a:xfrm>
            <a:off x="-223285" y="10"/>
            <a:ext cx="1813181"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36540D61-34EF-A319-A3D4-6E28E14AAC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9" name="Billede 8" descr="Et billede, der indeholder tekst, skærmbillede, linje/række, Kurve&#10;&#10;AI-genereret indhold kan være ukorrekt.">
            <a:extLst>
              <a:ext uri="{FF2B5EF4-FFF2-40B4-BE49-F238E27FC236}">
                <a16:creationId xmlns:a16="http://schemas.microsoft.com/office/drawing/2014/main" id="{041BFDDC-DDC1-8B78-446E-6788A51E26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7891" y="1305873"/>
            <a:ext cx="7523018" cy="5355095"/>
          </a:xfrm>
          <a:prstGeom prst="rect">
            <a:avLst/>
          </a:prstGeom>
        </p:spPr>
      </p:pic>
      <p:sp>
        <p:nvSpPr>
          <p:cNvPr id="11" name="Rektangel: afrundede hjørner 10">
            <a:extLst>
              <a:ext uri="{FF2B5EF4-FFF2-40B4-BE49-F238E27FC236}">
                <a16:creationId xmlns:a16="http://schemas.microsoft.com/office/drawing/2014/main" id="{FDE9F368-5C11-B36D-EB18-7A061FF45C5D}"/>
              </a:ext>
            </a:extLst>
          </p:cNvPr>
          <p:cNvSpPr/>
          <p:nvPr/>
        </p:nvSpPr>
        <p:spPr>
          <a:xfrm>
            <a:off x="5960918" y="1305872"/>
            <a:ext cx="3553691" cy="709963"/>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ktangel: afrundede hjørner 3">
            <a:extLst>
              <a:ext uri="{FF2B5EF4-FFF2-40B4-BE49-F238E27FC236}">
                <a16:creationId xmlns:a16="http://schemas.microsoft.com/office/drawing/2014/main" id="{A47B0308-594A-3E22-959C-65EFDE210936}"/>
              </a:ext>
            </a:extLst>
          </p:cNvPr>
          <p:cNvSpPr/>
          <p:nvPr/>
        </p:nvSpPr>
        <p:spPr>
          <a:xfrm>
            <a:off x="5990403" y="3106500"/>
            <a:ext cx="3684904" cy="123190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2800">
                <a:solidFill>
                  <a:schemeClr val="tx1"/>
                </a:solidFill>
              </a:rPr>
              <a:t>2022</a:t>
            </a:r>
            <a:endParaRPr lang="da-DK" sz="2800"/>
          </a:p>
        </p:txBody>
      </p:sp>
      <p:sp>
        <p:nvSpPr>
          <p:cNvPr id="12" name="Rektangel: afrundede hjørner 11">
            <a:extLst>
              <a:ext uri="{FF2B5EF4-FFF2-40B4-BE49-F238E27FC236}">
                <a16:creationId xmlns:a16="http://schemas.microsoft.com/office/drawing/2014/main" id="{4E66AA94-4B6F-DBE6-B767-7F14A149574D}"/>
              </a:ext>
            </a:extLst>
          </p:cNvPr>
          <p:cNvSpPr/>
          <p:nvPr/>
        </p:nvSpPr>
        <p:spPr>
          <a:xfrm>
            <a:off x="5990403" y="3106499"/>
            <a:ext cx="3684904" cy="123190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2800" dirty="0">
                <a:solidFill>
                  <a:schemeClr val="tx1"/>
                </a:solidFill>
              </a:rPr>
              <a:t>2022</a:t>
            </a:r>
            <a:endParaRPr lang="da-DK" sz="2800" dirty="0"/>
          </a:p>
        </p:txBody>
      </p:sp>
      <p:pic>
        <p:nvPicPr>
          <p:cNvPr id="1026" name="Picture 2" descr="Et billede, der indeholder tekst, Font/skrifttype, hvid, skærmbillede&#10;&#10;AI-genereret indhold kan være ukorrekt.">
            <a:extLst>
              <a:ext uri="{FF2B5EF4-FFF2-40B4-BE49-F238E27FC236}">
                <a16:creationId xmlns:a16="http://schemas.microsoft.com/office/drawing/2014/main" id="{E3E8E0ED-8DD1-608B-CC65-2CFCF453B6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5992" y="3595056"/>
            <a:ext cx="3133725"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474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animEffect transition="in" filter="fade">
                                      <p:cBhvr>
                                        <p:cTn id="13"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A2DD3-D55E-BCAB-69DD-0B31C7650200}"/>
            </a:ext>
          </a:extLst>
        </p:cNvPr>
        <p:cNvGrpSpPr/>
        <p:nvPr/>
      </p:nvGrpSpPr>
      <p:grpSpPr>
        <a:xfrm>
          <a:off x="0" y="0"/>
          <a:ext cx="0" cy="0"/>
          <a:chOff x="0" y="0"/>
          <a:chExt cx="0" cy="0"/>
        </a:xfrm>
      </p:grpSpPr>
      <p:pic>
        <p:nvPicPr>
          <p:cNvPr id="13" name="Billede 12" descr="Et billede, der indeholder tekst, skærmbillede, Font/skrifttype, nummer/tal&#10;&#10;AI-genereret indhold kan være ukorrekt.">
            <a:extLst>
              <a:ext uri="{FF2B5EF4-FFF2-40B4-BE49-F238E27FC236}">
                <a16:creationId xmlns:a16="http://schemas.microsoft.com/office/drawing/2014/main" id="{8DB61F0A-99B4-6C3F-C974-78CDA75313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2082" y="1165041"/>
            <a:ext cx="7415950" cy="5497475"/>
          </a:xfrm>
          <a:prstGeom prst="rect">
            <a:avLst/>
          </a:prstGeom>
        </p:spPr>
      </p:pic>
      <p:sp>
        <p:nvSpPr>
          <p:cNvPr id="2" name="Titel 1">
            <a:extLst>
              <a:ext uri="{FF2B5EF4-FFF2-40B4-BE49-F238E27FC236}">
                <a16:creationId xmlns:a16="http://schemas.microsoft.com/office/drawing/2014/main" id="{D50E5571-7A26-2EE6-E53B-A2FC3F274254}"/>
              </a:ext>
            </a:extLst>
          </p:cNvPr>
          <p:cNvSpPr>
            <a:spLocks noGrp="1"/>
          </p:cNvSpPr>
          <p:nvPr>
            <p:ph type="title"/>
          </p:nvPr>
        </p:nvSpPr>
        <p:spPr>
          <a:xfrm>
            <a:off x="1589897" y="155468"/>
            <a:ext cx="8749058" cy="1338696"/>
          </a:xfrm>
        </p:spPr>
        <p:txBody>
          <a:bodyPr vert="horz" lIns="91440" tIns="45720" rIns="91440" bIns="45720" rtlCol="0" anchor="ctr">
            <a:normAutofit fontScale="90000"/>
          </a:bodyPr>
          <a:lstStyle/>
          <a:p>
            <a:r>
              <a:rPr lang="en-US" sz="6600" b="1"/>
              <a:t>AMBASSADØR SCORE 2025</a:t>
            </a:r>
          </a:p>
        </p:txBody>
      </p:sp>
      <p:pic>
        <p:nvPicPr>
          <p:cNvPr id="3" name="Billede 2" descr="Et billede, der indeholder tekst, Grafik, logo, grafisk design">
            <a:extLst>
              <a:ext uri="{FF2B5EF4-FFF2-40B4-BE49-F238E27FC236}">
                <a16:creationId xmlns:a16="http://schemas.microsoft.com/office/drawing/2014/main" id="{1BBB6E92-FFDF-72C6-DF88-639BF38761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11" name="Rektangel: afrundede hjørner 10">
            <a:extLst>
              <a:ext uri="{FF2B5EF4-FFF2-40B4-BE49-F238E27FC236}">
                <a16:creationId xmlns:a16="http://schemas.microsoft.com/office/drawing/2014/main" id="{976CD8F6-21E6-453C-E07B-BDB585C99BD5}"/>
              </a:ext>
            </a:extLst>
          </p:cNvPr>
          <p:cNvSpPr/>
          <p:nvPr/>
        </p:nvSpPr>
        <p:spPr>
          <a:xfrm>
            <a:off x="5960918" y="1305872"/>
            <a:ext cx="3553691" cy="709963"/>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Pladsholder til indhold 4">
            <a:extLst>
              <a:ext uri="{FF2B5EF4-FFF2-40B4-BE49-F238E27FC236}">
                <a16:creationId xmlns:a16="http://schemas.microsoft.com/office/drawing/2014/main" id="{1EF82D33-8F5C-464D-1812-95D47808152D}"/>
              </a:ext>
            </a:extLst>
          </p:cNvPr>
          <p:cNvPicPr>
            <a:picLocks noChangeAspect="1"/>
          </p:cNvPicPr>
          <p:nvPr/>
        </p:nvPicPr>
        <p:blipFill>
          <a:blip r:embed="rId5">
            <a:extLst>
              <a:ext uri="{28A0092B-C50C-407E-A947-70E740481C1C}">
                <a14:useLocalDpi xmlns:a14="http://schemas.microsoft.com/office/drawing/2010/main" val="0"/>
              </a:ext>
            </a:extLst>
          </a:blip>
          <a:srcRect l="34050" r="30696"/>
          <a:stretch>
            <a:fillRect/>
          </a:stretch>
        </p:blipFill>
        <p:spPr>
          <a:xfrm>
            <a:off x="-223285" y="10"/>
            <a:ext cx="1813181"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grpSp>
        <p:nvGrpSpPr>
          <p:cNvPr id="4" name="Gruppe 3">
            <a:extLst>
              <a:ext uri="{FF2B5EF4-FFF2-40B4-BE49-F238E27FC236}">
                <a16:creationId xmlns:a16="http://schemas.microsoft.com/office/drawing/2014/main" id="{6D294897-0B34-5D81-3791-B7944E113BAC}"/>
              </a:ext>
            </a:extLst>
          </p:cNvPr>
          <p:cNvGrpSpPr/>
          <p:nvPr/>
        </p:nvGrpSpPr>
        <p:grpSpPr>
          <a:xfrm>
            <a:off x="5960918" y="3025408"/>
            <a:ext cx="3948546" cy="1428173"/>
            <a:chOff x="7618997" y="2615598"/>
            <a:chExt cx="5091546" cy="2421082"/>
          </a:xfrm>
        </p:grpSpPr>
        <p:sp>
          <p:nvSpPr>
            <p:cNvPr id="5" name="Rektangel: afrundede hjørner 4">
              <a:extLst>
                <a:ext uri="{FF2B5EF4-FFF2-40B4-BE49-F238E27FC236}">
                  <a16:creationId xmlns:a16="http://schemas.microsoft.com/office/drawing/2014/main" id="{810F510D-1DF5-3955-90D8-461CE6B6C7F8}"/>
                </a:ext>
              </a:extLst>
            </p:cNvPr>
            <p:cNvSpPr/>
            <p:nvPr/>
          </p:nvSpPr>
          <p:spPr>
            <a:xfrm>
              <a:off x="7618997" y="2615598"/>
              <a:ext cx="5091546" cy="2421082"/>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2800" dirty="0">
                  <a:solidFill>
                    <a:schemeClr val="tx1"/>
                  </a:solidFill>
                </a:rPr>
                <a:t>2022</a:t>
              </a:r>
              <a:endParaRPr lang="da-DK" sz="2800" dirty="0"/>
            </a:p>
          </p:txBody>
        </p:sp>
        <p:pic>
          <p:nvPicPr>
            <p:cNvPr id="6" name="Billede 5" descr="Et billede, der indeholder tekst, Font/skrifttype, hvid, typografi&#10;&#10;AI-genereret indhold kan være ukorrekt.">
              <a:extLst>
                <a:ext uri="{FF2B5EF4-FFF2-40B4-BE49-F238E27FC236}">
                  <a16:creationId xmlns:a16="http://schemas.microsoft.com/office/drawing/2014/main" id="{A22D1845-FA85-43F4-A5A1-3CC0FC349BAA}"/>
                </a:ext>
              </a:extLst>
            </p:cNvPr>
            <p:cNvPicPr>
              <a:picLocks noChangeAspect="1"/>
            </p:cNvPicPr>
            <p:nvPr/>
          </p:nvPicPr>
          <p:blipFill>
            <a:blip r:embed="rId6"/>
            <a:stretch>
              <a:fillRect/>
            </a:stretch>
          </p:blipFill>
          <p:spPr>
            <a:xfrm>
              <a:off x="7925844" y="3407672"/>
              <a:ext cx="4502415" cy="1492423"/>
            </a:xfrm>
            <a:prstGeom prst="rect">
              <a:avLst/>
            </a:prstGeom>
          </p:spPr>
        </p:pic>
      </p:grpSp>
    </p:spTree>
    <p:extLst>
      <p:ext uri="{BB962C8B-B14F-4D97-AF65-F5344CB8AC3E}">
        <p14:creationId xmlns:p14="http://schemas.microsoft.com/office/powerpoint/2010/main" val="3719558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84567-45BB-E2CE-D567-D28B8D7C16C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ADBB7F-1746-0237-41CA-18F262795537}"/>
              </a:ext>
            </a:extLst>
          </p:cNvPr>
          <p:cNvSpPr>
            <a:spLocks noGrp="1"/>
          </p:cNvSpPr>
          <p:nvPr>
            <p:ph type="title"/>
          </p:nvPr>
        </p:nvSpPr>
        <p:spPr>
          <a:xfrm>
            <a:off x="1589897" y="197032"/>
            <a:ext cx="8063258" cy="1338696"/>
          </a:xfrm>
        </p:spPr>
        <p:txBody>
          <a:bodyPr vert="horz" lIns="91440" tIns="45720" rIns="91440" bIns="45720" rtlCol="0" anchor="ctr">
            <a:normAutofit fontScale="90000"/>
          </a:bodyPr>
          <a:lstStyle/>
          <a:p>
            <a:r>
              <a:rPr lang="en-US" sz="6600" b="1"/>
              <a:t>ÅRSAGER UDMELDINGER</a:t>
            </a:r>
          </a:p>
        </p:txBody>
      </p:sp>
      <p:pic>
        <p:nvPicPr>
          <p:cNvPr id="5" name="Pladsholder til indhold 4">
            <a:extLst>
              <a:ext uri="{FF2B5EF4-FFF2-40B4-BE49-F238E27FC236}">
                <a16:creationId xmlns:a16="http://schemas.microsoft.com/office/drawing/2014/main" id="{92443545-2DAF-8C1E-19F2-1F9220E4E4A4}"/>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45979" r="45979"/>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B494A0C4-E567-5BBD-7055-F0486885A3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8" name="Billede 7">
            <a:extLst>
              <a:ext uri="{FF2B5EF4-FFF2-40B4-BE49-F238E27FC236}">
                <a16:creationId xmlns:a16="http://schemas.microsoft.com/office/drawing/2014/main" id="{1EB1BF34-CA9E-015D-4906-5A8CD9D82ED5}"/>
              </a:ext>
            </a:extLst>
          </p:cNvPr>
          <p:cNvPicPr>
            <a:picLocks noChangeAspect="1"/>
          </p:cNvPicPr>
          <p:nvPr/>
        </p:nvPicPr>
        <p:blipFill>
          <a:blip r:embed="rId5"/>
          <a:stretch>
            <a:fillRect/>
          </a:stretch>
        </p:blipFill>
        <p:spPr>
          <a:xfrm>
            <a:off x="2239456" y="1444350"/>
            <a:ext cx="9114343" cy="5478303"/>
          </a:xfrm>
          <a:prstGeom prst="rect">
            <a:avLst/>
          </a:prstGeom>
        </p:spPr>
      </p:pic>
      <p:sp>
        <p:nvSpPr>
          <p:cNvPr id="9" name="Tekstfelt 8">
            <a:extLst>
              <a:ext uri="{FF2B5EF4-FFF2-40B4-BE49-F238E27FC236}">
                <a16:creationId xmlns:a16="http://schemas.microsoft.com/office/drawing/2014/main" id="{D6362ED0-A985-9117-EBD4-C679F89222FB}"/>
              </a:ext>
            </a:extLst>
          </p:cNvPr>
          <p:cNvSpPr txBox="1"/>
          <p:nvPr/>
        </p:nvSpPr>
        <p:spPr>
          <a:xfrm>
            <a:off x="1589897" y="1087703"/>
            <a:ext cx="3948132" cy="369332"/>
          </a:xfrm>
          <a:prstGeom prst="rect">
            <a:avLst/>
          </a:prstGeom>
          <a:noFill/>
        </p:spPr>
        <p:txBody>
          <a:bodyPr wrap="none" rtlCol="0">
            <a:spAutoFit/>
          </a:bodyPr>
          <a:lstStyle/>
          <a:p>
            <a:r>
              <a:rPr lang="da-DK" i="1"/>
              <a:t>Besvarelser fra ”golfspilleren i centrum”</a:t>
            </a:r>
          </a:p>
        </p:txBody>
      </p:sp>
    </p:spTree>
    <p:extLst>
      <p:ext uri="{BB962C8B-B14F-4D97-AF65-F5344CB8AC3E}">
        <p14:creationId xmlns:p14="http://schemas.microsoft.com/office/powerpoint/2010/main" val="23588551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5CDE2-004C-64F3-7D8E-ACDF7D9C87D7}"/>
            </a:ext>
          </a:extLst>
        </p:cNvPr>
        <p:cNvGrpSpPr/>
        <p:nvPr/>
      </p:nvGrpSpPr>
      <p:grpSpPr>
        <a:xfrm>
          <a:off x="0" y="0"/>
          <a:ext cx="0" cy="0"/>
          <a:chOff x="0" y="0"/>
          <a:chExt cx="0" cy="0"/>
        </a:xfrm>
      </p:grpSpPr>
      <p:pic>
        <p:nvPicPr>
          <p:cNvPr id="6" name="Billede 5">
            <a:extLst>
              <a:ext uri="{FF2B5EF4-FFF2-40B4-BE49-F238E27FC236}">
                <a16:creationId xmlns:a16="http://schemas.microsoft.com/office/drawing/2014/main" id="{67A1C8F5-315C-773E-0FFD-101271090DFA}"/>
              </a:ext>
            </a:extLst>
          </p:cNvPr>
          <p:cNvPicPr>
            <a:picLocks noChangeAspect="1"/>
          </p:cNvPicPr>
          <p:nvPr/>
        </p:nvPicPr>
        <p:blipFill>
          <a:blip r:embed="rId3"/>
          <a:stretch>
            <a:fillRect/>
          </a:stretch>
        </p:blipFill>
        <p:spPr>
          <a:xfrm>
            <a:off x="-176563" y="2086599"/>
            <a:ext cx="6449027" cy="3756215"/>
          </a:xfrm>
          <a:prstGeom prst="rect">
            <a:avLst/>
          </a:prstGeom>
        </p:spPr>
      </p:pic>
      <p:sp>
        <p:nvSpPr>
          <p:cNvPr id="2" name="Titel 1">
            <a:extLst>
              <a:ext uri="{FF2B5EF4-FFF2-40B4-BE49-F238E27FC236}">
                <a16:creationId xmlns:a16="http://schemas.microsoft.com/office/drawing/2014/main" id="{C491371A-7957-D45A-4614-7FF199073966}"/>
              </a:ext>
            </a:extLst>
          </p:cNvPr>
          <p:cNvSpPr>
            <a:spLocks noGrp="1"/>
          </p:cNvSpPr>
          <p:nvPr>
            <p:ph type="title"/>
          </p:nvPr>
        </p:nvSpPr>
        <p:spPr>
          <a:xfrm>
            <a:off x="1589897" y="197032"/>
            <a:ext cx="8780230" cy="1338696"/>
          </a:xfrm>
        </p:spPr>
        <p:txBody>
          <a:bodyPr vert="horz" lIns="91440" tIns="45720" rIns="91440" bIns="45720" rtlCol="0" anchor="ctr">
            <a:normAutofit fontScale="90000"/>
          </a:bodyPr>
          <a:lstStyle/>
          <a:p>
            <a:r>
              <a:rPr lang="en-US" sz="6600" b="1"/>
              <a:t>ER DU MEDLEM OM 2 ÅR?</a:t>
            </a:r>
          </a:p>
        </p:txBody>
      </p:sp>
      <p:pic>
        <p:nvPicPr>
          <p:cNvPr id="5" name="Pladsholder til indhold 4">
            <a:extLst>
              <a:ext uri="{FF2B5EF4-FFF2-40B4-BE49-F238E27FC236}">
                <a16:creationId xmlns:a16="http://schemas.microsoft.com/office/drawing/2014/main" id="{284150F8-C2D7-0BCF-98B4-4640816D184C}"/>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F6FF4099-5D5F-E7F8-6EF0-AD936ABAAD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graphicFrame>
        <p:nvGraphicFramePr>
          <p:cNvPr id="9" name="Content Placeholder 8">
            <a:extLst>
              <a:ext uri="{FF2B5EF4-FFF2-40B4-BE49-F238E27FC236}">
                <a16:creationId xmlns:a16="http://schemas.microsoft.com/office/drawing/2014/main" id="{8AA473C8-38C1-C3E0-DB9D-D7E62F31CD1F}"/>
              </a:ext>
            </a:extLst>
          </p:cNvPr>
          <p:cNvGraphicFramePr>
            <a:graphicFrameLocks noGrp="1"/>
          </p:cNvGraphicFramePr>
          <p:nvPr>
            <p:ph sz="half" idx="2"/>
            <p:extLst>
              <p:ext uri="{D42A27DB-BD31-4B8C-83A1-F6EECF244321}">
                <p14:modId xmlns:p14="http://schemas.microsoft.com/office/powerpoint/2010/main" val="3911022457"/>
              </p:ext>
            </p:extLst>
          </p:nvPr>
        </p:nvGraphicFramePr>
        <p:xfrm>
          <a:off x="1707524" y="1460724"/>
          <a:ext cx="5181600" cy="274320"/>
        </p:xfrm>
        <a:graphic>
          <a:graphicData uri="http://schemas.openxmlformats.org/drawingml/2006/table">
            <a:tbl>
              <a:tblPr bandRow="1">
                <a:tableStyleId>{5C22544A-7EE6-4342-B048-85BDC9FD1C3A}</a:tableStyleId>
              </a:tblPr>
              <a:tblGrid>
                <a:gridCol w="5181600">
                  <a:extLst>
                    <a:ext uri="{9D8B030D-6E8A-4147-A177-3AD203B41FA5}">
                      <a16:colId xmlns:a16="http://schemas.microsoft.com/office/drawing/2014/main" val="459961239"/>
                    </a:ext>
                  </a:extLst>
                </a:gridCol>
              </a:tblGrid>
              <a:tr h="228600">
                <a:tc>
                  <a:txBody>
                    <a:bodyPr/>
                    <a:lstStyle/>
                    <a:p>
                      <a:pPr>
                        <a:buNone/>
                      </a:pPr>
                      <a:r>
                        <a:rPr lang="en-US">
                          <a:effectLst/>
                        </a:rPr>
                        <a:t>366 besvarelser = 43% af de adspurgte</a:t>
                      </a:r>
                    </a:p>
                  </a:txBody>
                  <a:tcPr marL="0" marR="0" marT="0" marB="0" anchor="ctr">
                    <a:lnL>
                      <a:noFill/>
                    </a:lnL>
                    <a:lnR>
                      <a:noFill/>
                    </a:lnR>
                    <a:lnT>
                      <a:noFill/>
                    </a:lnT>
                    <a:lnB>
                      <a:noFill/>
                    </a:lnB>
                    <a:noFill/>
                  </a:tcPr>
                </a:tc>
                <a:extLst>
                  <a:ext uri="{0D108BD9-81ED-4DB2-BD59-A6C34878D82A}">
                    <a16:rowId xmlns:a16="http://schemas.microsoft.com/office/drawing/2014/main" val="2402662474"/>
                  </a:ext>
                </a:extLst>
              </a:tr>
            </a:tbl>
          </a:graphicData>
        </a:graphic>
      </p:graphicFrame>
      <p:sp>
        <p:nvSpPr>
          <p:cNvPr id="11" name="Tekstfelt 8">
            <a:extLst>
              <a:ext uri="{FF2B5EF4-FFF2-40B4-BE49-F238E27FC236}">
                <a16:creationId xmlns:a16="http://schemas.microsoft.com/office/drawing/2014/main" id="{2CE4CDA5-BAEF-434A-394F-50445DB84847}"/>
              </a:ext>
            </a:extLst>
          </p:cNvPr>
          <p:cNvSpPr txBox="1"/>
          <p:nvPr/>
        </p:nvSpPr>
        <p:spPr>
          <a:xfrm>
            <a:off x="1589897" y="1109168"/>
            <a:ext cx="3948132" cy="369332"/>
          </a:xfrm>
          <a:prstGeom prst="rect">
            <a:avLst/>
          </a:prstGeom>
          <a:noFill/>
        </p:spPr>
        <p:txBody>
          <a:bodyPr wrap="none" rtlCol="0">
            <a:spAutoFit/>
          </a:bodyPr>
          <a:lstStyle/>
          <a:p>
            <a:r>
              <a:rPr lang="da-DK" i="1"/>
              <a:t>Besvarelser fra ”golfspilleren i centrum”</a:t>
            </a:r>
          </a:p>
        </p:txBody>
      </p:sp>
      <p:pic>
        <p:nvPicPr>
          <p:cNvPr id="8" name="Billede 7">
            <a:extLst>
              <a:ext uri="{FF2B5EF4-FFF2-40B4-BE49-F238E27FC236}">
                <a16:creationId xmlns:a16="http://schemas.microsoft.com/office/drawing/2014/main" id="{7B165F7F-F116-7D99-E9D3-8D93CC750E42}"/>
              </a:ext>
            </a:extLst>
          </p:cNvPr>
          <p:cNvPicPr>
            <a:picLocks noChangeAspect="1"/>
          </p:cNvPicPr>
          <p:nvPr/>
        </p:nvPicPr>
        <p:blipFill>
          <a:blip r:embed="rId6"/>
          <a:srcRect l="24453" r="23007"/>
          <a:stretch>
            <a:fillRect/>
          </a:stretch>
        </p:blipFill>
        <p:spPr>
          <a:xfrm>
            <a:off x="4796741" y="2126385"/>
            <a:ext cx="3241964" cy="3708837"/>
          </a:xfrm>
          <a:prstGeom prst="rect">
            <a:avLst/>
          </a:prstGeom>
        </p:spPr>
      </p:pic>
      <p:pic>
        <p:nvPicPr>
          <p:cNvPr id="10" name="Billede 9">
            <a:extLst>
              <a:ext uri="{FF2B5EF4-FFF2-40B4-BE49-F238E27FC236}">
                <a16:creationId xmlns:a16="http://schemas.microsoft.com/office/drawing/2014/main" id="{341E5C0B-20FF-0FA7-434E-D1872A047657}"/>
              </a:ext>
            </a:extLst>
          </p:cNvPr>
          <p:cNvPicPr>
            <a:picLocks noChangeAspect="1"/>
          </p:cNvPicPr>
          <p:nvPr/>
        </p:nvPicPr>
        <p:blipFill>
          <a:blip r:embed="rId7"/>
          <a:srcRect l="23261"/>
          <a:stretch>
            <a:fillRect/>
          </a:stretch>
        </p:blipFill>
        <p:spPr>
          <a:xfrm>
            <a:off x="8038703" y="2123559"/>
            <a:ext cx="4890252" cy="3711663"/>
          </a:xfrm>
          <a:prstGeom prst="rect">
            <a:avLst/>
          </a:prstGeom>
        </p:spPr>
      </p:pic>
    </p:spTree>
    <p:extLst>
      <p:ext uri="{BB962C8B-B14F-4D97-AF65-F5344CB8AC3E}">
        <p14:creationId xmlns:p14="http://schemas.microsoft.com/office/powerpoint/2010/main" val="24924067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AE3B3-3C41-B139-C1CB-AC698638CEDD}"/>
            </a:ext>
          </a:extLst>
        </p:cNvPr>
        <p:cNvGrpSpPr/>
        <p:nvPr/>
      </p:nvGrpSpPr>
      <p:grpSpPr>
        <a:xfrm>
          <a:off x="0" y="0"/>
          <a:ext cx="0" cy="0"/>
          <a:chOff x="0" y="0"/>
          <a:chExt cx="0" cy="0"/>
        </a:xfrm>
      </p:grpSpPr>
      <p:pic>
        <p:nvPicPr>
          <p:cNvPr id="8" name="Billede 7" descr="Et billede, der indeholder tekst, skærmbillede, Font/skrifttype, logo&#10;&#10;AI-genereret indhold kan være ukorrekt.">
            <a:extLst>
              <a:ext uri="{FF2B5EF4-FFF2-40B4-BE49-F238E27FC236}">
                <a16:creationId xmlns:a16="http://schemas.microsoft.com/office/drawing/2014/main" id="{4C130DC0-9340-5526-ECB7-1419EDFC7AF1}"/>
              </a:ext>
            </a:extLst>
          </p:cNvPr>
          <p:cNvPicPr>
            <a:picLocks noChangeAspect="1"/>
          </p:cNvPicPr>
          <p:nvPr/>
        </p:nvPicPr>
        <p:blipFill>
          <a:blip r:embed="rId3"/>
          <a:stretch>
            <a:fillRect/>
          </a:stretch>
        </p:blipFill>
        <p:spPr>
          <a:xfrm>
            <a:off x="711293" y="2052323"/>
            <a:ext cx="4900126" cy="3600328"/>
          </a:xfrm>
          <a:prstGeom prst="rect">
            <a:avLst/>
          </a:prstGeom>
        </p:spPr>
      </p:pic>
      <p:sp>
        <p:nvSpPr>
          <p:cNvPr id="2" name="Titel 1">
            <a:extLst>
              <a:ext uri="{FF2B5EF4-FFF2-40B4-BE49-F238E27FC236}">
                <a16:creationId xmlns:a16="http://schemas.microsoft.com/office/drawing/2014/main" id="{886EB2B8-0D34-28EC-C83A-35863A999454}"/>
              </a:ext>
            </a:extLst>
          </p:cNvPr>
          <p:cNvSpPr>
            <a:spLocks noGrp="1"/>
          </p:cNvSpPr>
          <p:nvPr>
            <p:ph type="title"/>
          </p:nvPr>
        </p:nvSpPr>
        <p:spPr>
          <a:xfrm>
            <a:off x="666322" y="-66327"/>
            <a:ext cx="10812611" cy="1338696"/>
          </a:xfrm>
        </p:spPr>
        <p:txBody>
          <a:bodyPr vert="horz" lIns="91440" tIns="45720" rIns="91440" bIns="45720" rtlCol="0" anchor="ctr">
            <a:normAutofit fontScale="90000"/>
          </a:bodyPr>
          <a:lstStyle/>
          <a:p>
            <a:pPr marL="457200" lvl="1" indent="0" algn="l">
              <a:buNone/>
            </a:pPr>
            <a:r>
              <a:rPr lang="da-DK" sz="5900" b="1" kern="1200">
                <a:solidFill>
                  <a:schemeClr val="tx1"/>
                </a:solidFill>
                <a:latin typeface="+mj-lt"/>
                <a:ea typeface="+mj-ea"/>
                <a:cs typeface="+mj-cs"/>
              </a:rPr>
              <a:t>KLUBAFHÆNGIG /KLUBUAFHÆNGIG</a:t>
            </a:r>
          </a:p>
        </p:txBody>
      </p:sp>
      <p:pic>
        <p:nvPicPr>
          <p:cNvPr id="5" name="Pladsholder til indhold 4">
            <a:extLst>
              <a:ext uri="{FF2B5EF4-FFF2-40B4-BE49-F238E27FC236}">
                <a16:creationId xmlns:a16="http://schemas.microsoft.com/office/drawing/2014/main" id="{55DC4B67-7518-6C4E-CB92-4DAF780638F5}"/>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rcRect l="46141" r="4614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D6898E0E-23B0-4531-A96A-3CBBAC6345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6" name="Tekstfelt 5">
            <a:extLst>
              <a:ext uri="{FF2B5EF4-FFF2-40B4-BE49-F238E27FC236}">
                <a16:creationId xmlns:a16="http://schemas.microsoft.com/office/drawing/2014/main" id="{3F161700-A05A-EDE8-5FC4-572AB25E50E5}"/>
              </a:ext>
            </a:extLst>
          </p:cNvPr>
          <p:cNvSpPr txBox="1"/>
          <p:nvPr/>
        </p:nvSpPr>
        <p:spPr>
          <a:xfrm>
            <a:off x="1194098" y="868810"/>
            <a:ext cx="3948132" cy="369332"/>
          </a:xfrm>
          <a:prstGeom prst="rect">
            <a:avLst/>
          </a:prstGeom>
          <a:noFill/>
        </p:spPr>
        <p:txBody>
          <a:bodyPr wrap="none" rtlCol="0">
            <a:spAutoFit/>
          </a:bodyPr>
          <a:lstStyle/>
          <a:p>
            <a:r>
              <a:rPr lang="da-DK" i="1"/>
              <a:t>Besvarelser fra ”golfspilleren i centrum”</a:t>
            </a:r>
          </a:p>
        </p:txBody>
      </p:sp>
      <p:pic>
        <p:nvPicPr>
          <p:cNvPr id="10" name="Billede 9" descr="Et billede, der indeholder tekst, skærmbillede, Font/skrifttype, logo&#10;&#10;AI-genereret indhold kan være ukorrekt.">
            <a:extLst>
              <a:ext uri="{FF2B5EF4-FFF2-40B4-BE49-F238E27FC236}">
                <a16:creationId xmlns:a16="http://schemas.microsoft.com/office/drawing/2014/main" id="{508DDC36-179B-47B7-CB41-7D67B7AE466B}"/>
              </a:ext>
            </a:extLst>
          </p:cNvPr>
          <p:cNvPicPr>
            <a:picLocks noChangeAspect="1"/>
          </p:cNvPicPr>
          <p:nvPr/>
        </p:nvPicPr>
        <p:blipFill>
          <a:blip r:embed="rId6"/>
          <a:stretch>
            <a:fillRect/>
          </a:stretch>
        </p:blipFill>
        <p:spPr>
          <a:xfrm>
            <a:off x="4890526" y="2052323"/>
            <a:ext cx="3416285" cy="3600328"/>
          </a:xfrm>
          <a:prstGeom prst="rect">
            <a:avLst/>
          </a:prstGeom>
        </p:spPr>
      </p:pic>
      <p:pic>
        <p:nvPicPr>
          <p:cNvPr id="12" name="Billede 11" descr="Et billede, der indeholder tekst, skærmbillede, Font/skrifttype, logo&#10;&#10;AI-genereret indhold kan være ukorrekt.">
            <a:extLst>
              <a:ext uri="{FF2B5EF4-FFF2-40B4-BE49-F238E27FC236}">
                <a16:creationId xmlns:a16="http://schemas.microsoft.com/office/drawing/2014/main" id="{E2CB9993-CAB7-2F17-2FBF-7A8A17A07BBF}"/>
              </a:ext>
            </a:extLst>
          </p:cNvPr>
          <p:cNvPicPr>
            <a:picLocks noChangeAspect="1"/>
          </p:cNvPicPr>
          <p:nvPr/>
        </p:nvPicPr>
        <p:blipFill>
          <a:blip r:embed="rId7"/>
          <a:stretch>
            <a:fillRect/>
          </a:stretch>
        </p:blipFill>
        <p:spPr>
          <a:xfrm>
            <a:off x="8445808" y="2114669"/>
            <a:ext cx="3374721" cy="3619096"/>
          </a:xfrm>
          <a:prstGeom prst="rect">
            <a:avLst/>
          </a:prstGeom>
        </p:spPr>
      </p:pic>
    </p:spTree>
    <p:extLst>
      <p:ext uri="{BB962C8B-B14F-4D97-AF65-F5344CB8AC3E}">
        <p14:creationId xmlns:p14="http://schemas.microsoft.com/office/powerpoint/2010/main" val="7281311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D5299-71C7-7B51-D2FE-C9BE6B0702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A11AE24-5DC1-D624-8EFC-DE3E6C12A590}"/>
              </a:ext>
            </a:extLst>
          </p:cNvPr>
          <p:cNvSpPr>
            <a:spLocks noGrp="1"/>
          </p:cNvSpPr>
          <p:nvPr>
            <p:ph type="title"/>
          </p:nvPr>
        </p:nvSpPr>
        <p:spPr>
          <a:xfrm>
            <a:off x="4333097" y="0"/>
            <a:ext cx="6781800" cy="1338696"/>
          </a:xfrm>
        </p:spPr>
        <p:txBody>
          <a:bodyPr vert="horz" lIns="91440" tIns="45720" rIns="91440" bIns="45720" rtlCol="0" anchor="ctr">
            <a:normAutofit/>
          </a:bodyPr>
          <a:lstStyle/>
          <a:p>
            <a:r>
              <a:rPr lang="en-US" sz="6600" b="1" dirty="0"/>
              <a:t>DAGSORDEN 1/2</a:t>
            </a:r>
          </a:p>
        </p:txBody>
      </p:sp>
      <p:pic>
        <p:nvPicPr>
          <p:cNvPr id="5" name="Pladsholder til indhold 4">
            <a:extLst>
              <a:ext uri="{FF2B5EF4-FFF2-40B4-BE49-F238E27FC236}">
                <a16:creationId xmlns:a16="http://schemas.microsoft.com/office/drawing/2014/main" id="{8A1D1518-D807-855A-7A56-9153B718F49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9469" r="29469"/>
          <a:stretch/>
        </p:blipFill>
        <p:spPr>
          <a:xfrm>
            <a:off x="0" y="10"/>
            <a:ext cx="3754739"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Pladsholder til indhold 3">
            <a:extLst>
              <a:ext uri="{FF2B5EF4-FFF2-40B4-BE49-F238E27FC236}">
                <a16:creationId xmlns:a16="http://schemas.microsoft.com/office/drawing/2014/main" id="{F0EBF13F-F8AB-2F59-A03D-BC61C890AE40}"/>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480955" y="1338696"/>
            <a:ext cx="8412308" cy="5155409"/>
          </a:xfrm>
        </p:spPr>
        <p:txBody>
          <a:bodyPr>
            <a:normAutofit/>
          </a:bodyPr>
          <a:lstStyle/>
          <a:p>
            <a:pPr marL="914400" lvl="1" indent="-457200">
              <a:buAutoNum type="arabicPeriod"/>
            </a:pPr>
            <a:r>
              <a:rPr lang="da-DK" sz="3200"/>
              <a:t>Valg af dirigent</a:t>
            </a:r>
          </a:p>
          <a:p>
            <a:pPr marL="914400" lvl="1" indent="-457200">
              <a:buAutoNum type="arabicPeriod"/>
            </a:pPr>
            <a:r>
              <a:rPr lang="da-DK" sz="3200"/>
              <a:t>Beretning om klubbens virksomhed i det forløbne år ved formand Niels Peter Madsen</a:t>
            </a:r>
          </a:p>
          <a:p>
            <a:pPr marL="914400" lvl="1" indent="-457200">
              <a:buAutoNum type="arabicPeriod"/>
            </a:pPr>
            <a:r>
              <a:rPr lang="da-DK" sz="3200"/>
              <a:t>Fremlæggelse af regnskab til godkendelse</a:t>
            </a:r>
          </a:p>
          <a:p>
            <a:pPr marL="914400" lvl="1" indent="-457200">
              <a:buAutoNum type="arabicPeriod"/>
            </a:pPr>
            <a:r>
              <a:rPr lang="da-DK" sz="3200"/>
              <a:t>Forslag til budget 2026 og forslag til medlemskontingent for 2027</a:t>
            </a:r>
          </a:p>
          <a:p>
            <a:pPr marL="914400" lvl="1" indent="-457200">
              <a:buAutoNum type="arabicPeriod"/>
            </a:pPr>
            <a:r>
              <a:rPr lang="da-DK" sz="3200"/>
              <a:t>Forslag fra bestyrelsen</a:t>
            </a:r>
            <a:endParaRPr lang="da-DK"/>
          </a:p>
          <a:p>
            <a:pPr marL="914400" lvl="2" indent="0">
              <a:buNone/>
            </a:pPr>
            <a:r>
              <a:rPr lang="da-DK"/>
              <a:t>1) Ifm. bestyrelsens undersøgelser, og hvis der er en fornuftig forretningsplan for igangsætning af et ny </a:t>
            </a:r>
            <a:r>
              <a:rPr lang="da-DK" err="1"/>
              <a:t>Trackmanhus</a:t>
            </a:r>
            <a:r>
              <a:rPr lang="da-DK"/>
              <a:t>, ønskes generalforsamlingens godkendelse (jf. vedtægternes punkt 13, stk. 3) til optagelse af lån og pantsætning på mere end kr. 750.000</a:t>
            </a:r>
          </a:p>
        </p:txBody>
      </p:sp>
      <p:pic>
        <p:nvPicPr>
          <p:cNvPr id="3" name="Billede 2" descr="Et billede, der indeholder tekst, Grafik, logo, grafisk design">
            <a:extLst>
              <a:ext uri="{FF2B5EF4-FFF2-40B4-BE49-F238E27FC236}">
                <a16:creationId xmlns:a16="http://schemas.microsoft.com/office/drawing/2014/main" id="{3DBEDE8C-7A4E-38EA-807B-2179018AA0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124039565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2FEED-228D-12AD-0E52-4966F490AEE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8AF18F7-7749-15D5-91FA-85995C4F4AC0}"/>
              </a:ext>
            </a:extLst>
          </p:cNvPr>
          <p:cNvSpPr>
            <a:spLocks noGrp="1"/>
          </p:cNvSpPr>
          <p:nvPr>
            <p:ph type="title"/>
          </p:nvPr>
        </p:nvSpPr>
        <p:spPr>
          <a:xfrm>
            <a:off x="1298864" y="247832"/>
            <a:ext cx="9590809" cy="1338696"/>
          </a:xfrm>
        </p:spPr>
        <p:txBody>
          <a:bodyPr vert="horz" lIns="91440" tIns="45720" rIns="91440" bIns="45720" rtlCol="0" anchor="ctr">
            <a:noAutofit/>
          </a:bodyPr>
          <a:lstStyle/>
          <a:p>
            <a:r>
              <a:rPr lang="en-US" sz="5400" b="1"/>
              <a:t>PLAYERS FIRST HIGHLIGHTS</a:t>
            </a:r>
            <a:br>
              <a:rPr lang="en-US" sz="5400" b="1"/>
            </a:br>
            <a:r>
              <a:rPr lang="en-US" sz="5400" b="1" i="1"/>
              <a:t>MEDLEMMER</a:t>
            </a:r>
            <a:endParaRPr lang="en-US" sz="5400" b="1" i="1" u="sng"/>
          </a:p>
        </p:txBody>
      </p:sp>
      <p:pic>
        <p:nvPicPr>
          <p:cNvPr id="5" name="Pladsholder til indhold 4">
            <a:extLst>
              <a:ext uri="{FF2B5EF4-FFF2-40B4-BE49-F238E27FC236}">
                <a16:creationId xmlns:a16="http://schemas.microsoft.com/office/drawing/2014/main" id="{7009798F-1E15-4565-04D4-8394D0FF69F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4A239947-90FA-E632-AE64-1A3E8A2A24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9" name="Shape 6">
            <a:extLst>
              <a:ext uri="{FF2B5EF4-FFF2-40B4-BE49-F238E27FC236}">
                <a16:creationId xmlns:a16="http://schemas.microsoft.com/office/drawing/2014/main" id="{3CCA7DC1-5B36-B95E-61DA-FFAE12251AA4}"/>
              </a:ext>
            </a:extLst>
          </p:cNvPr>
          <p:cNvSpPr/>
          <p:nvPr/>
        </p:nvSpPr>
        <p:spPr>
          <a:xfrm>
            <a:off x="2127536" y="2047240"/>
            <a:ext cx="8686800" cy="475488"/>
          </a:xfrm>
          <a:prstGeom prst="rect">
            <a:avLst/>
          </a:prstGeom>
          <a:solidFill>
            <a:srgbClr val="1A6B3C"/>
          </a:solidFill>
          <a:ln w="12700">
            <a:solidFill>
              <a:srgbClr val="1A6B3C"/>
            </a:solidFill>
            <a:prstDash val="solid"/>
          </a:ln>
        </p:spPr>
        <p:txBody>
          <a:bodyPr/>
          <a:lstStyle/>
          <a:p>
            <a:endParaRPr lang="da-DK"/>
          </a:p>
        </p:txBody>
      </p:sp>
      <p:sp>
        <p:nvSpPr>
          <p:cNvPr id="10" name="Text 7">
            <a:extLst>
              <a:ext uri="{FF2B5EF4-FFF2-40B4-BE49-F238E27FC236}">
                <a16:creationId xmlns:a16="http://schemas.microsoft.com/office/drawing/2014/main" id="{B30AABF1-EE18-67C7-0C27-1EBB0B1008B3}"/>
              </a:ext>
            </a:extLst>
          </p:cNvPr>
          <p:cNvSpPr/>
          <p:nvPr/>
        </p:nvSpPr>
        <p:spPr>
          <a:xfrm>
            <a:off x="2200688" y="2047240"/>
            <a:ext cx="2304288" cy="475488"/>
          </a:xfrm>
          <a:prstGeom prst="rect">
            <a:avLst/>
          </a:prstGeom>
          <a:noFill/>
          <a:ln/>
        </p:spPr>
        <p:txBody>
          <a:bodyPr wrap="square" lIns="50800" tIns="50800" rIns="50800" bIns="50800" rtlCol="0" anchor="ctr"/>
          <a:lstStyle/>
          <a:p>
            <a:pPr marL="0" indent="0" algn="l">
              <a:buNone/>
            </a:pPr>
            <a:r>
              <a:rPr lang="en-US" sz="1600" b="1">
                <a:solidFill>
                  <a:srgbClr val="FFFFFF"/>
                </a:solidFill>
                <a:latin typeface="Arial" pitchFamily="34" charset="0"/>
                <a:ea typeface="Arial" pitchFamily="34" charset="-122"/>
                <a:cs typeface="Arial" pitchFamily="34" charset="-120"/>
              </a:rPr>
              <a:t>KATEGORI</a:t>
            </a:r>
            <a:endParaRPr lang="en-US" sz="1600"/>
          </a:p>
        </p:txBody>
      </p:sp>
      <p:sp>
        <p:nvSpPr>
          <p:cNvPr id="11" name="Text 8">
            <a:extLst>
              <a:ext uri="{FF2B5EF4-FFF2-40B4-BE49-F238E27FC236}">
                <a16:creationId xmlns:a16="http://schemas.microsoft.com/office/drawing/2014/main" id="{6F8D1C46-7EC7-9ACF-5810-FC347E908C65}"/>
              </a:ext>
            </a:extLst>
          </p:cNvPr>
          <p:cNvSpPr/>
          <p:nvPr/>
        </p:nvSpPr>
        <p:spPr>
          <a:xfrm>
            <a:off x="4578128" y="2047240"/>
            <a:ext cx="129844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HGK 2025</a:t>
            </a:r>
            <a:endParaRPr lang="en-US" sz="1600"/>
          </a:p>
        </p:txBody>
      </p:sp>
      <p:sp>
        <p:nvSpPr>
          <p:cNvPr id="12" name="Text 9">
            <a:extLst>
              <a:ext uri="{FF2B5EF4-FFF2-40B4-BE49-F238E27FC236}">
                <a16:creationId xmlns:a16="http://schemas.microsoft.com/office/drawing/2014/main" id="{48401246-9DC2-53B5-D139-6804CFA5BE3F}"/>
              </a:ext>
            </a:extLst>
          </p:cNvPr>
          <p:cNvSpPr/>
          <p:nvPr/>
        </p:nvSpPr>
        <p:spPr>
          <a:xfrm>
            <a:off x="5949728" y="2047240"/>
            <a:ext cx="129844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25 VS. 24</a:t>
            </a:r>
            <a:endParaRPr lang="en-US" sz="1600"/>
          </a:p>
        </p:txBody>
      </p:sp>
      <p:sp>
        <p:nvSpPr>
          <p:cNvPr id="13" name="Text 10">
            <a:extLst>
              <a:ext uri="{FF2B5EF4-FFF2-40B4-BE49-F238E27FC236}">
                <a16:creationId xmlns:a16="http://schemas.microsoft.com/office/drawing/2014/main" id="{AD8554AC-B466-4132-F836-A8C34D3059F1}"/>
              </a:ext>
            </a:extLst>
          </p:cNvPr>
          <p:cNvSpPr/>
          <p:nvPr/>
        </p:nvSpPr>
        <p:spPr>
          <a:xfrm>
            <a:off x="7321328" y="2047240"/>
            <a:ext cx="230428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MIDTJYLLAND 25</a:t>
            </a:r>
            <a:endParaRPr lang="en-US" sz="1600"/>
          </a:p>
        </p:txBody>
      </p:sp>
      <p:sp>
        <p:nvSpPr>
          <p:cNvPr id="14" name="Text 11">
            <a:extLst>
              <a:ext uri="{FF2B5EF4-FFF2-40B4-BE49-F238E27FC236}">
                <a16:creationId xmlns:a16="http://schemas.microsoft.com/office/drawing/2014/main" id="{119BE338-A6D4-2C07-50AA-A198A2D2B186}"/>
              </a:ext>
            </a:extLst>
          </p:cNvPr>
          <p:cNvSpPr/>
          <p:nvPr/>
        </p:nvSpPr>
        <p:spPr>
          <a:xfrm>
            <a:off x="9849136" y="2047240"/>
            <a:ext cx="965200"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HGK VS MJ</a:t>
            </a:r>
            <a:endParaRPr lang="en-US" sz="1600"/>
          </a:p>
        </p:txBody>
      </p:sp>
      <p:sp>
        <p:nvSpPr>
          <p:cNvPr id="15" name="Shape 12">
            <a:extLst>
              <a:ext uri="{FF2B5EF4-FFF2-40B4-BE49-F238E27FC236}">
                <a16:creationId xmlns:a16="http://schemas.microsoft.com/office/drawing/2014/main" id="{1164024E-8E43-A21A-FF40-6A2108894F70}"/>
              </a:ext>
            </a:extLst>
          </p:cNvPr>
          <p:cNvSpPr/>
          <p:nvPr/>
        </p:nvSpPr>
        <p:spPr>
          <a:xfrm>
            <a:off x="2127536" y="2522728"/>
            <a:ext cx="8686800" cy="530352"/>
          </a:xfrm>
          <a:prstGeom prst="rect">
            <a:avLst/>
          </a:prstGeom>
          <a:solidFill>
            <a:srgbClr val="112233"/>
          </a:solidFill>
          <a:ln w="12700">
            <a:solidFill>
              <a:srgbClr val="1E3A5F"/>
            </a:solidFill>
            <a:prstDash val="solid"/>
          </a:ln>
        </p:spPr>
        <p:txBody>
          <a:bodyPr/>
          <a:lstStyle/>
          <a:p>
            <a:endParaRPr lang="da-DK"/>
          </a:p>
        </p:txBody>
      </p:sp>
      <p:sp>
        <p:nvSpPr>
          <p:cNvPr id="16" name="Shape 13">
            <a:extLst>
              <a:ext uri="{FF2B5EF4-FFF2-40B4-BE49-F238E27FC236}">
                <a16:creationId xmlns:a16="http://schemas.microsoft.com/office/drawing/2014/main" id="{5ACADF75-AA22-D901-942D-BB319BBE12EE}"/>
              </a:ext>
            </a:extLst>
          </p:cNvPr>
          <p:cNvSpPr/>
          <p:nvPr/>
        </p:nvSpPr>
        <p:spPr>
          <a:xfrm>
            <a:off x="2127536" y="2522728"/>
            <a:ext cx="36576" cy="530352"/>
          </a:xfrm>
          <a:prstGeom prst="rect">
            <a:avLst/>
          </a:prstGeom>
          <a:solidFill>
            <a:srgbClr val="1A6B3C"/>
          </a:solidFill>
          <a:ln w="12700">
            <a:solidFill>
              <a:srgbClr val="1A6B3C"/>
            </a:solidFill>
            <a:prstDash val="solid"/>
          </a:ln>
        </p:spPr>
        <p:txBody>
          <a:bodyPr/>
          <a:lstStyle/>
          <a:p>
            <a:endParaRPr lang="da-DK"/>
          </a:p>
        </p:txBody>
      </p:sp>
      <p:sp>
        <p:nvSpPr>
          <p:cNvPr id="17" name="Text 14">
            <a:extLst>
              <a:ext uri="{FF2B5EF4-FFF2-40B4-BE49-F238E27FC236}">
                <a16:creationId xmlns:a16="http://schemas.microsoft.com/office/drawing/2014/main" id="{99DACA81-CC09-50DA-B81B-DFAC449242D1}"/>
              </a:ext>
            </a:extLst>
          </p:cNvPr>
          <p:cNvSpPr/>
          <p:nvPr/>
        </p:nvSpPr>
        <p:spPr>
          <a:xfrm>
            <a:off x="2218976" y="2522728"/>
            <a:ext cx="2286000"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ea typeface="Arial" pitchFamily="34" charset="-122"/>
                <a:cs typeface="Arial" pitchFamily="34" charset="-120"/>
              </a:rPr>
              <a:t>Priser/</a:t>
            </a:r>
            <a:r>
              <a:rPr lang="en-US" sz="2000" b="1" dirty="0" err="1">
                <a:solidFill>
                  <a:srgbClr val="DDEEFF"/>
                </a:solidFill>
                <a:latin typeface="Arial" pitchFamily="34" charset="0"/>
                <a:ea typeface="Arial" pitchFamily="34" charset="-122"/>
                <a:cs typeface="Arial" pitchFamily="34" charset="-120"/>
              </a:rPr>
              <a:t>Produkter</a:t>
            </a:r>
            <a:endParaRPr lang="en-US" sz="2000" b="1" dirty="0"/>
          </a:p>
        </p:txBody>
      </p:sp>
      <p:sp>
        <p:nvSpPr>
          <p:cNvPr id="18" name="Shape 15">
            <a:extLst>
              <a:ext uri="{FF2B5EF4-FFF2-40B4-BE49-F238E27FC236}">
                <a16:creationId xmlns:a16="http://schemas.microsoft.com/office/drawing/2014/main" id="{E88CA81B-7171-234D-909B-A6E912A361AB}"/>
              </a:ext>
            </a:extLst>
          </p:cNvPr>
          <p:cNvSpPr/>
          <p:nvPr/>
        </p:nvSpPr>
        <p:spPr>
          <a:xfrm>
            <a:off x="4916456" y="2595880"/>
            <a:ext cx="420624" cy="420624"/>
          </a:xfrm>
          <a:prstGeom prst="ellipse">
            <a:avLst/>
          </a:prstGeom>
          <a:solidFill>
            <a:srgbClr val="1A6B3C"/>
          </a:solidFill>
          <a:ln w="12700">
            <a:solidFill>
              <a:srgbClr val="2D9E5A"/>
            </a:solidFill>
            <a:prstDash val="solid"/>
          </a:ln>
        </p:spPr>
        <p:txBody>
          <a:bodyPr/>
          <a:lstStyle/>
          <a:p>
            <a:endParaRPr lang="da-DK"/>
          </a:p>
        </p:txBody>
      </p:sp>
      <p:sp>
        <p:nvSpPr>
          <p:cNvPr id="19" name="Text 16">
            <a:extLst>
              <a:ext uri="{FF2B5EF4-FFF2-40B4-BE49-F238E27FC236}">
                <a16:creationId xmlns:a16="http://schemas.microsoft.com/office/drawing/2014/main" id="{C4FC0D37-E419-00E0-CEA3-68BC3037D252}"/>
              </a:ext>
            </a:extLst>
          </p:cNvPr>
          <p:cNvSpPr/>
          <p:nvPr/>
        </p:nvSpPr>
        <p:spPr>
          <a:xfrm>
            <a:off x="4916456" y="2595880"/>
            <a:ext cx="420624" cy="420624"/>
          </a:xfrm>
          <a:prstGeom prst="rect">
            <a:avLst/>
          </a:prstGeom>
          <a:noFill/>
          <a:ln/>
        </p:spPr>
        <p:txBody>
          <a:bodyPr wrap="square" lIns="0" tIns="0" rIns="0" bIns="0" rtlCol="0" anchor="ctr"/>
          <a:lstStyle/>
          <a:p>
            <a:pPr marL="0" indent="0" algn="ctr">
              <a:buNone/>
            </a:pPr>
            <a:r>
              <a:rPr lang="en-US" sz="2000" b="1">
                <a:solidFill>
                  <a:srgbClr val="FFFFFF"/>
                </a:solidFill>
                <a:latin typeface="Arial" pitchFamily="34" charset="0"/>
                <a:ea typeface="Arial" pitchFamily="34" charset="-122"/>
                <a:cs typeface="Arial" pitchFamily="34" charset="-120"/>
              </a:rPr>
              <a:t>81</a:t>
            </a:r>
            <a:endParaRPr lang="en-US" sz="2000"/>
          </a:p>
        </p:txBody>
      </p:sp>
      <p:sp>
        <p:nvSpPr>
          <p:cNvPr id="20" name="Text 17">
            <a:extLst>
              <a:ext uri="{FF2B5EF4-FFF2-40B4-BE49-F238E27FC236}">
                <a16:creationId xmlns:a16="http://schemas.microsoft.com/office/drawing/2014/main" id="{924A5E6A-4353-088A-8544-FCAC1E27CFC1}"/>
              </a:ext>
            </a:extLst>
          </p:cNvPr>
          <p:cNvSpPr/>
          <p:nvPr/>
        </p:nvSpPr>
        <p:spPr>
          <a:xfrm>
            <a:off x="5876576" y="2522728"/>
            <a:ext cx="1371600" cy="530352"/>
          </a:xfrm>
          <a:prstGeom prst="rect">
            <a:avLst/>
          </a:prstGeom>
          <a:noFill/>
          <a:ln/>
        </p:spPr>
        <p:txBody>
          <a:bodyPr wrap="square" lIns="0" tIns="0" rIns="0" bIns="0" rtlCol="0" anchor="ctr"/>
          <a:lstStyle/>
          <a:p>
            <a:pPr marL="0" indent="0" algn="ctr">
              <a:buNone/>
            </a:pPr>
            <a:r>
              <a:rPr lang="en-US" sz="1400">
                <a:solidFill>
                  <a:srgbClr val="AAAAAA"/>
                </a:solidFill>
                <a:latin typeface="Arial" pitchFamily="34" charset="0"/>
                <a:ea typeface="Arial" pitchFamily="34" charset="-122"/>
                <a:cs typeface="Arial" pitchFamily="34" charset="-120"/>
              </a:rPr>
              <a:t>-</a:t>
            </a:r>
            <a:endParaRPr lang="en-US" sz="1400"/>
          </a:p>
        </p:txBody>
      </p:sp>
      <p:sp>
        <p:nvSpPr>
          <p:cNvPr id="21" name="Text 18">
            <a:extLst>
              <a:ext uri="{FF2B5EF4-FFF2-40B4-BE49-F238E27FC236}">
                <a16:creationId xmlns:a16="http://schemas.microsoft.com/office/drawing/2014/main" id="{FC940E2D-A798-E64F-72D7-CA0391EE554A}"/>
              </a:ext>
            </a:extLst>
          </p:cNvPr>
          <p:cNvSpPr/>
          <p:nvPr/>
        </p:nvSpPr>
        <p:spPr>
          <a:xfrm>
            <a:off x="7248176" y="2522728"/>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ea typeface="Arial" pitchFamily="34" charset="-122"/>
                <a:cs typeface="Arial" pitchFamily="34" charset="-120"/>
              </a:rPr>
              <a:t>80</a:t>
            </a:r>
            <a:endParaRPr lang="en-US" sz="2000">
              <a:solidFill>
                <a:schemeClr val="bg1"/>
              </a:solidFill>
            </a:endParaRPr>
          </a:p>
        </p:txBody>
      </p:sp>
      <p:sp>
        <p:nvSpPr>
          <p:cNvPr id="22" name="Shape 19">
            <a:extLst>
              <a:ext uri="{FF2B5EF4-FFF2-40B4-BE49-F238E27FC236}">
                <a16:creationId xmlns:a16="http://schemas.microsoft.com/office/drawing/2014/main" id="{165326C7-B2E6-B0E9-B4B7-C4F973DB5516}"/>
              </a:ext>
            </a:extLst>
          </p:cNvPr>
          <p:cNvSpPr/>
          <p:nvPr/>
        </p:nvSpPr>
        <p:spPr>
          <a:xfrm>
            <a:off x="9945656" y="2614168"/>
            <a:ext cx="731520" cy="384048"/>
          </a:xfrm>
          <a:prstGeom prst="rect">
            <a:avLst/>
          </a:prstGeom>
          <a:solidFill>
            <a:srgbClr val="1A5C35"/>
          </a:solidFill>
          <a:ln w="12700">
            <a:solidFill>
              <a:srgbClr val="2ECC71"/>
            </a:solidFill>
            <a:prstDash val="solid"/>
          </a:ln>
        </p:spPr>
        <p:txBody>
          <a:bodyPr/>
          <a:lstStyle/>
          <a:p>
            <a:endParaRPr lang="da-DK"/>
          </a:p>
        </p:txBody>
      </p:sp>
      <p:sp>
        <p:nvSpPr>
          <p:cNvPr id="23" name="Text 20">
            <a:extLst>
              <a:ext uri="{FF2B5EF4-FFF2-40B4-BE49-F238E27FC236}">
                <a16:creationId xmlns:a16="http://schemas.microsoft.com/office/drawing/2014/main" id="{EB912A1A-69F5-730F-9E15-B7C7BFB7F13D}"/>
              </a:ext>
            </a:extLst>
          </p:cNvPr>
          <p:cNvSpPr/>
          <p:nvPr/>
        </p:nvSpPr>
        <p:spPr>
          <a:xfrm>
            <a:off x="9945656" y="2614168"/>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1</a:t>
            </a:r>
            <a:endParaRPr lang="en-US" sz="2000">
              <a:solidFill>
                <a:schemeClr val="bg1"/>
              </a:solidFill>
            </a:endParaRPr>
          </a:p>
        </p:txBody>
      </p:sp>
      <p:sp>
        <p:nvSpPr>
          <p:cNvPr id="24" name="Shape 21">
            <a:extLst>
              <a:ext uri="{FF2B5EF4-FFF2-40B4-BE49-F238E27FC236}">
                <a16:creationId xmlns:a16="http://schemas.microsoft.com/office/drawing/2014/main" id="{1F49E27C-4778-0423-0A92-6BA7ACAA8A6C}"/>
              </a:ext>
            </a:extLst>
          </p:cNvPr>
          <p:cNvSpPr/>
          <p:nvPr/>
        </p:nvSpPr>
        <p:spPr>
          <a:xfrm>
            <a:off x="2127536" y="3053080"/>
            <a:ext cx="8686800" cy="530352"/>
          </a:xfrm>
          <a:prstGeom prst="rect">
            <a:avLst/>
          </a:prstGeom>
          <a:solidFill>
            <a:srgbClr val="0D1B2A"/>
          </a:solidFill>
          <a:ln w="12700">
            <a:solidFill>
              <a:srgbClr val="1E3A5F"/>
            </a:solidFill>
            <a:prstDash val="solid"/>
          </a:ln>
        </p:spPr>
        <p:txBody>
          <a:bodyPr/>
          <a:lstStyle/>
          <a:p>
            <a:endParaRPr lang="da-DK"/>
          </a:p>
        </p:txBody>
      </p:sp>
      <p:sp>
        <p:nvSpPr>
          <p:cNvPr id="25" name="Shape 22">
            <a:extLst>
              <a:ext uri="{FF2B5EF4-FFF2-40B4-BE49-F238E27FC236}">
                <a16:creationId xmlns:a16="http://schemas.microsoft.com/office/drawing/2014/main" id="{53F327F4-0FA7-28A5-E8EC-4597F9AE4B44}"/>
              </a:ext>
            </a:extLst>
          </p:cNvPr>
          <p:cNvSpPr/>
          <p:nvPr/>
        </p:nvSpPr>
        <p:spPr>
          <a:xfrm>
            <a:off x="2127536" y="3053080"/>
            <a:ext cx="36576" cy="530352"/>
          </a:xfrm>
          <a:prstGeom prst="rect">
            <a:avLst/>
          </a:prstGeom>
          <a:solidFill>
            <a:srgbClr val="1A6B3C"/>
          </a:solidFill>
          <a:ln w="12700">
            <a:solidFill>
              <a:srgbClr val="1A6B3C"/>
            </a:solidFill>
            <a:prstDash val="solid"/>
          </a:ln>
        </p:spPr>
        <p:txBody>
          <a:bodyPr/>
          <a:lstStyle/>
          <a:p>
            <a:endParaRPr lang="da-DK"/>
          </a:p>
        </p:txBody>
      </p:sp>
      <p:sp>
        <p:nvSpPr>
          <p:cNvPr id="26" name="Text 23">
            <a:extLst>
              <a:ext uri="{FF2B5EF4-FFF2-40B4-BE49-F238E27FC236}">
                <a16:creationId xmlns:a16="http://schemas.microsoft.com/office/drawing/2014/main" id="{C0CDF988-9215-4BE6-B0A3-28D099CAD5AA}"/>
              </a:ext>
            </a:extLst>
          </p:cNvPr>
          <p:cNvSpPr/>
          <p:nvPr/>
        </p:nvSpPr>
        <p:spPr>
          <a:xfrm>
            <a:off x="2218976" y="3053080"/>
            <a:ext cx="2560320" cy="530352"/>
          </a:xfrm>
          <a:prstGeom prst="rect">
            <a:avLst/>
          </a:prstGeom>
          <a:noFill/>
          <a:ln/>
        </p:spPr>
        <p:txBody>
          <a:bodyPr wrap="square" lIns="50800" tIns="50800" rIns="50800" bIns="50800" rtlCol="0" anchor="ctr"/>
          <a:lstStyle/>
          <a:p>
            <a:pPr marL="0" indent="0" algn="l">
              <a:buNone/>
            </a:pPr>
            <a:r>
              <a:rPr lang="en-US" sz="2000" b="1" dirty="0" err="1">
                <a:solidFill>
                  <a:srgbClr val="DDEEFF"/>
                </a:solidFill>
                <a:latin typeface="Arial" pitchFamily="34" charset="0"/>
                <a:ea typeface="Arial" pitchFamily="34" charset="-122"/>
                <a:cs typeface="Arial" pitchFamily="34" charset="-120"/>
              </a:rPr>
              <a:t>Ledelse</a:t>
            </a:r>
            <a:r>
              <a:rPr lang="en-US" sz="2000" b="1" dirty="0">
                <a:solidFill>
                  <a:srgbClr val="DDEEFF"/>
                </a:solidFill>
                <a:latin typeface="Arial" pitchFamily="34" charset="0"/>
                <a:ea typeface="Arial" pitchFamily="34" charset="-122"/>
                <a:cs typeface="Arial" pitchFamily="34" charset="-120"/>
              </a:rPr>
              <a:t>/Information</a:t>
            </a:r>
            <a:endParaRPr lang="en-US" sz="2000" b="1" dirty="0"/>
          </a:p>
        </p:txBody>
      </p:sp>
      <p:sp>
        <p:nvSpPr>
          <p:cNvPr id="27" name="Shape 24">
            <a:extLst>
              <a:ext uri="{FF2B5EF4-FFF2-40B4-BE49-F238E27FC236}">
                <a16:creationId xmlns:a16="http://schemas.microsoft.com/office/drawing/2014/main" id="{5E3AA101-3D73-F033-2FC3-924A6AB4750C}"/>
              </a:ext>
            </a:extLst>
          </p:cNvPr>
          <p:cNvSpPr/>
          <p:nvPr/>
        </p:nvSpPr>
        <p:spPr>
          <a:xfrm>
            <a:off x="4916456" y="3126232"/>
            <a:ext cx="420624" cy="420624"/>
          </a:xfrm>
          <a:prstGeom prst="ellipse">
            <a:avLst/>
          </a:prstGeom>
          <a:solidFill>
            <a:srgbClr val="1A6B3C"/>
          </a:solidFill>
          <a:ln w="12700">
            <a:solidFill>
              <a:srgbClr val="2D9E5A"/>
            </a:solidFill>
            <a:prstDash val="solid"/>
          </a:ln>
        </p:spPr>
        <p:txBody>
          <a:bodyPr/>
          <a:lstStyle/>
          <a:p>
            <a:endParaRPr lang="da-DK"/>
          </a:p>
        </p:txBody>
      </p:sp>
      <p:sp>
        <p:nvSpPr>
          <p:cNvPr id="28" name="Text 25">
            <a:extLst>
              <a:ext uri="{FF2B5EF4-FFF2-40B4-BE49-F238E27FC236}">
                <a16:creationId xmlns:a16="http://schemas.microsoft.com/office/drawing/2014/main" id="{31C5A225-9797-F194-FB4B-F04D57BDBA6A}"/>
              </a:ext>
            </a:extLst>
          </p:cNvPr>
          <p:cNvSpPr/>
          <p:nvPr/>
        </p:nvSpPr>
        <p:spPr>
          <a:xfrm>
            <a:off x="4916456" y="3126232"/>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5</a:t>
            </a:r>
          </a:p>
        </p:txBody>
      </p:sp>
      <p:sp>
        <p:nvSpPr>
          <p:cNvPr id="29" name="Text 26">
            <a:extLst>
              <a:ext uri="{FF2B5EF4-FFF2-40B4-BE49-F238E27FC236}">
                <a16:creationId xmlns:a16="http://schemas.microsoft.com/office/drawing/2014/main" id="{3D64F6C7-90C8-8D5F-7953-934B7CFF4293}"/>
              </a:ext>
            </a:extLst>
          </p:cNvPr>
          <p:cNvSpPr/>
          <p:nvPr/>
        </p:nvSpPr>
        <p:spPr>
          <a:xfrm>
            <a:off x="5876576" y="3053080"/>
            <a:ext cx="1371600" cy="530352"/>
          </a:xfrm>
          <a:prstGeom prst="rect">
            <a:avLst/>
          </a:prstGeom>
          <a:noFill/>
          <a:ln/>
        </p:spPr>
        <p:txBody>
          <a:bodyPr wrap="square" lIns="0" tIns="0" rIns="0" bIns="0" rtlCol="0" anchor="ctr"/>
          <a:lstStyle/>
          <a:p>
            <a:pPr marL="0" indent="0" algn="ctr">
              <a:buNone/>
            </a:pPr>
            <a:r>
              <a:rPr lang="en-US" sz="2000" b="1">
                <a:solidFill>
                  <a:srgbClr val="2ECC71"/>
                </a:solidFill>
                <a:latin typeface="Arial" pitchFamily="34" charset="0"/>
                <a:ea typeface="Arial" pitchFamily="34" charset="-122"/>
                <a:cs typeface="Arial" pitchFamily="34" charset="-120"/>
              </a:rPr>
              <a:t>+1</a:t>
            </a:r>
            <a:endParaRPr lang="en-US" sz="2000"/>
          </a:p>
        </p:txBody>
      </p:sp>
      <p:sp>
        <p:nvSpPr>
          <p:cNvPr id="30" name="Text 27">
            <a:extLst>
              <a:ext uri="{FF2B5EF4-FFF2-40B4-BE49-F238E27FC236}">
                <a16:creationId xmlns:a16="http://schemas.microsoft.com/office/drawing/2014/main" id="{7D60A947-EF1C-357D-98BB-8074210E7A04}"/>
              </a:ext>
            </a:extLst>
          </p:cNvPr>
          <p:cNvSpPr/>
          <p:nvPr/>
        </p:nvSpPr>
        <p:spPr>
          <a:xfrm>
            <a:off x="7248176" y="3053080"/>
            <a:ext cx="2377440" cy="530352"/>
          </a:xfrm>
          <a:prstGeom prst="rect">
            <a:avLst/>
          </a:prstGeom>
          <a:noFill/>
          <a:ln/>
        </p:spPr>
        <p:txBody>
          <a:bodyPr wrap="square" lIns="0" tIns="0" rIns="0" bIns="0" rtlCol="0" anchor="ctr"/>
          <a:lstStyle/>
          <a:p>
            <a:pPr marL="0" indent="0" algn="ctr">
              <a:buNone/>
            </a:pPr>
            <a:r>
              <a:rPr lang="en-US" sz="2000">
                <a:solidFill>
                  <a:schemeClr val="bg1"/>
                </a:solidFill>
              </a:rPr>
              <a:t>82</a:t>
            </a:r>
          </a:p>
        </p:txBody>
      </p:sp>
      <p:sp>
        <p:nvSpPr>
          <p:cNvPr id="31" name="Shape 28">
            <a:extLst>
              <a:ext uri="{FF2B5EF4-FFF2-40B4-BE49-F238E27FC236}">
                <a16:creationId xmlns:a16="http://schemas.microsoft.com/office/drawing/2014/main" id="{CD31DEB5-AFC6-5ED7-408C-EE47DFB49714}"/>
              </a:ext>
            </a:extLst>
          </p:cNvPr>
          <p:cNvSpPr/>
          <p:nvPr/>
        </p:nvSpPr>
        <p:spPr>
          <a:xfrm>
            <a:off x="9945656" y="3144520"/>
            <a:ext cx="731520" cy="384048"/>
          </a:xfrm>
          <a:prstGeom prst="rect">
            <a:avLst/>
          </a:prstGeom>
          <a:solidFill>
            <a:srgbClr val="1A5C35"/>
          </a:solidFill>
          <a:ln w="12700">
            <a:solidFill>
              <a:srgbClr val="2ECC71"/>
            </a:solidFill>
            <a:prstDash val="solid"/>
          </a:ln>
        </p:spPr>
        <p:txBody>
          <a:bodyPr/>
          <a:lstStyle/>
          <a:p>
            <a:endParaRPr lang="da-DK"/>
          </a:p>
        </p:txBody>
      </p:sp>
      <p:sp>
        <p:nvSpPr>
          <p:cNvPr id="32" name="Text 29">
            <a:extLst>
              <a:ext uri="{FF2B5EF4-FFF2-40B4-BE49-F238E27FC236}">
                <a16:creationId xmlns:a16="http://schemas.microsoft.com/office/drawing/2014/main" id="{F61BB6A7-0F23-18DA-6DDC-40D61B37CFCE}"/>
              </a:ext>
            </a:extLst>
          </p:cNvPr>
          <p:cNvSpPr/>
          <p:nvPr/>
        </p:nvSpPr>
        <p:spPr>
          <a:xfrm>
            <a:off x="9945656" y="3144520"/>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3</a:t>
            </a:r>
            <a:endParaRPr lang="en-US" sz="2000">
              <a:solidFill>
                <a:schemeClr val="bg1"/>
              </a:solidFill>
            </a:endParaRPr>
          </a:p>
        </p:txBody>
      </p:sp>
      <p:sp>
        <p:nvSpPr>
          <p:cNvPr id="33" name="Shape 30">
            <a:extLst>
              <a:ext uri="{FF2B5EF4-FFF2-40B4-BE49-F238E27FC236}">
                <a16:creationId xmlns:a16="http://schemas.microsoft.com/office/drawing/2014/main" id="{0D4B9749-A08B-EB70-F1B8-AD1C55457E19}"/>
              </a:ext>
            </a:extLst>
          </p:cNvPr>
          <p:cNvSpPr/>
          <p:nvPr/>
        </p:nvSpPr>
        <p:spPr>
          <a:xfrm>
            <a:off x="2127536" y="3583432"/>
            <a:ext cx="8686800" cy="530352"/>
          </a:xfrm>
          <a:prstGeom prst="rect">
            <a:avLst/>
          </a:prstGeom>
          <a:solidFill>
            <a:srgbClr val="112233"/>
          </a:solidFill>
          <a:ln w="12700">
            <a:solidFill>
              <a:srgbClr val="1E3A5F"/>
            </a:solidFill>
            <a:prstDash val="solid"/>
          </a:ln>
        </p:spPr>
        <p:txBody>
          <a:bodyPr/>
          <a:lstStyle/>
          <a:p>
            <a:endParaRPr lang="da-DK"/>
          </a:p>
        </p:txBody>
      </p:sp>
      <p:sp>
        <p:nvSpPr>
          <p:cNvPr id="34" name="Shape 31">
            <a:extLst>
              <a:ext uri="{FF2B5EF4-FFF2-40B4-BE49-F238E27FC236}">
                <a16:creationId xmlns:a16="http://schemas.microsoft.com/office/drawing/2014/main" id="{928F9651-1A91-51A4-ACC2-16074DD4CDCA}"/>
              </a:ext>
            </a:extLst>
          </p:cNvPr>
          <p:cNvSpPr/>
          <p:nvPr/>
        </p:nvSpPr>
        <p:spPr>
          <a:xfrm>
            <a:off x="2127536" y="3583432"/>
            <a:ext cx="36576" cy="530352"/>
          </a:xfrm>
          <a:prstGeom prst="rect">
            <a:avLst/>
          </a:prstGeom>
          <a:solidFill>
            <a:srgbClr val="1A6B3C"/>
          </a:solidFill>
          <a:ln w="12700">
            <a:solidFill>
              <a:srgbClr val="1A6B3C"/>
            </a:solidFill>
            <a:prstDash val="solid"/>
          </a:ln>
        </p:spPr>
        <p:txBody>
          <a:bodyPr/>
          <a:lstStyle/>
          <a:p>
            <a:endParaRPr lang="da-DK"/>
          </a:p>
        </p:txBody>
      </p:sp>
      <p:sp>
        <p:nvSpPr>
          <p:cNvPr id="35" name="Text 32">
            <a:extLst>
              <a:ext uri="{FF2B5EF4-FFF2-40B4-BE49-F238E27FC236}">
                <a16:creationId xmlns:a16="http://schemas.microsoft.com/office/drawing/2014/main" id="{547E6FBF-B329-CD94-C930-876CABDE362B}"/>
              </a:ext>
            </a:extLst>
          </p:cNvPr>
          <p:cNvSpPr/>
          <p:nvPr/>
        </p:nvSpPr>
        <p:spPr>
          <a:xfrm>
            <a:off x="2218976" y="3583432"/>
            <a:ext cx="2286000"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ea typeface="Arial" pitchFamily="34" charset="-122"/>
                <a:cs typeface="Arial" pitchFamily="34" charset="-120"/>
              </a:rPr>
              <a:t>Banen</a:t>
            </a:r>
            <a:endParaRPr lang="en-US" sz="2000" b="1" dirty="0"/>
          </a:p>
        </p:txBody>
      </p:sp>
      <p:sp>
        <p:nvSpPr>
          <p:cNvPr id="36" name="Shape 33">
            <a:extLst>
              <a:ext uri="{FF2B5EF4-FFF2-40B4-BE49-F238E27FC236}">
                <a16:creationId xmlns:a16="http://schemas.microsoft.com/office/drawing/2014/main" id="{25DC81F7-C543-8590-257A-4F94D7E61B9B}"/>
              </a:ext>
            </a:extLst>
          </p:cNvPr>
          <p:cNvSpPr/>
          <p:nvPr/>
        </p:nvSpPr>
        <p:spPr>
          <a:xfrm>
            <a:off x="4916456" y="3656584"/>
            <a:ext cx="420624" cy="420624"/>
          </a:xfrm>
          <a:prstGeom prst="ellipse">
            <a:avLst/>
          </a:prstGeom>
          <a:solidFill>
            <a:srgbClr val="1A6B3C"/>
          </a:solidFill>
          <a:ln w="12700">
            <a:solidFill>
              <a:srgbClr val="2D9E5A"/>
            </a:solidFill>
            <a:prstDash val="solid"/>
          </a:ln>
        </p:spPr>
        <p:txBody>
          <a:bodyPr/>
          <a:lstStyle/>
          <a:p>
            <a:endParaRPr lang="da-DK"/>
          </a:p>
        </p:txBody>
      </p:sp>
      <p:sp>
        <p:nvSpPr>
          <p:cNvPr id="37" name="Text 34">
            <a:extLst>
              <a:ext uri="{FF2B5EF4-FFF2-40B4-BE49-F238E27FC236}">
                <a16:creationId xmlns:a16="http://schemas.microsoft.com/office/drawing/2014/main" id="{005BA064-4D45-78EA-0A0C-A0BFB3CDFAB6}"/>
              </a:ext>
            </a:extLst>
          </p:cNvPr>
          <p:cNvSpPr/>
          <p:nvPr/>
        </p:nvSpPr>
        <p:spPr>
          <a:xfrm>
            <a:off x="4916456" y="3656584"/>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6</a:t>
            </a:r>
          </a:p>
        </p:txBody>
      </p:sp>
      <p:sp>
        <p:nvSpPr>
          <p:cNvPr id="38" name="Text 35">
            <a:extLst>
              <a:ext uri="{FF2B5EF4-FFF2-40B4-BE49-F238E27FC236}">
                <a16:creationId xmlns:a16="http://schemas.microsoft.com/office/drawing/2014/main" id="{C60300A9-E47F-7DAE-CEBE-1946D5BBFB9A}"/>
              </a:ext>
            </a:extLst>
          </p:cNvPr>
          <p:cNvSpPr/>
          <p:nvPr/>
        </p:nvSpPr>
        <p:spPr>
          <a:xfrm>
            <a:off x="5876576" y="3583432"/>
            <a:ext cx="1371600" cy="530352"/>
          </a:xfrm>
          <a:prstGeom prst="rect">
            <a:avLst/>
          </a:prstGeom>
          <a:noFill/>
          <a:ln/>
        </p:spPr>
        <p:txBody>
          <a:bodyPr wrap="square" lIns="0" tIns="0" rIns="0" bIns="0" rtlCol="0" anchor="ctr"/>
          <a:lstStyle/>
          <a:p>
            <a:pPr marL="0" indent="0" algn="ctr">
              <a:buNone/>
            </a:pPr>
            <a:r>
              <a:rPr lang="en-US" sz="2000" b="1">
                <a:solidFill>
                  <a:srgbClr val="2ECC71"/>
                </a:solidFill>
                <a:latin typeface="Arial" pitchFamily="34" charset="0"/>
                <a:ea typeface="Arial" pitchFamily="34" charset="-122"/>
                <a:cs typeface="Arial" pitchFamily="34" charset="-120"/>
              </a:rPr>
              <a:t>+1</a:t>
            </a:r>
            <a:endParaRPr lang="en-US" sz="2000"/>
          </a:p>
        </p:txBody>
      </p:sp>
      <p:sp>
        <p:nvSpPr>
          <p:cNvPr id="39" name="Text 36">
            <a:extLst>
              <a:ext uri="{FF2B5EF4-FFF2-40B4-BE49-F238E27FC236}">
                <a16:creationId xmlns:a16="http://schemas.microsoft.com/office/drawing/2014/main" id="{456829B1-18CE-A1DA-A542-C948156178D1}"/>
              </a:ext>
            </a:extLst>
          </p:cNvPr>
          <p:cNvSpPr/>
          <p:nvPr/>
        </p:nvSpPr>
        <p:spPr>
          <a:xfrm>
            <a:off x="7248176" y="3583432"/>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80</a:t>
            </a:r>
            <a:endParaRPr lang="en-US" sz="2000">
              <a:solidFill>
                <a:schemeClr val="bg1"/>
              </a:solidFill>
            </a:endParaRPr>
          </a:p>
        </p:txBody>
      </p:sp>
      <p:sp>
        <p:nvSpPr>
          <p:cNvPr id="40" name="Shape 37">
            <a:extLst>
              <a:ext uri="{FF2B5EF4-FFF2-40B4-BE49-F238E27FC236}">
                <a16:creationId xmlns:a16="http://schemas.microsoft.com/office/drawing/2014/main" id="{182C2BC6-DDA1-F0AF-858B-D1FD1AC814AF}"/>
              </a:ext>
            </a:extLst>
          </p:cNvPr>
          <p:cNvSpPr/>
          <p:nvPr/>
        </p:nvSpPr>
        <p:spPr>
          <a:xfrm>
            <a:off x="9945656" y="3674872"/>
            <a:ext cx="731520" cy="384048"/>
          </a:xfrm>
          <a:prstGeom prst="rect">
            <a:avLst/>
          </a:prstGeom>
          <a:solidFill>
            <a:srgbClr val="1A5C35"/>
          </a:solidFill>
          <a:ln w="12700">
            <a:solidFill>
              <a:srgbClr val="2ECC71"/>
            </a:solidFill>
            <a:prstDash val="solid"/>
          </a:ln>
        </p:spPr>
        <p:txBody>
          <a:bodyPr/>
          <a:lstStyle/>
          <a:p>
            <a:endParaRPr lang="da-DK"/>
          </a:p>
        </p:txBody>
      </p:sp>
      <p:sp>
        <p:nvSpPr>
          <p:cNvPr id="41" name="Text 38">
            <a:extLst>
              <a:ext uri="{FF2B5EF4-FFF2-40B4-BE49-F238E27FC236}">
                <a16:creationId xmlns:a16="http://schemas.microsoft.com/office/drawing/2014/main" id="{B98439E0-185E-0982-94C5-C110D84C2F1A}"/>
              </a:ext>
            </a:extLst>
          </p:cNvPr>
          <p:cNvSpPr/>
          <p:nvPr/>
        </p:nvSpPr>
        <p:spPr>
          <a:xfrm>
            <a:off x="9945656" y="3674872"/>
            <a:ext cx="731520" cy="384048"/>
          </a:xfrm>
          <a:prstGeom prst="rect">
            <a:avLst/>
          </a:prstGeom>
          <a:noFill/>
          <a:ln/>
        </p:spPr>
        <p:txBody>
          <a:bodyPr wrap="square" lIns="0" tIns="0" rIns="0" bIns="0" rtlCol="0" anchor="ctr"/>
          <a:lstStyle/>
          <a:p>
            <a:pPr algn="ctr"/>
            <a:r>
              <a:rPr lang="en-US" sz="2000" b="1">
                <a:solidFill>
                  <a:schemeClr val="bg1"/>
                </a:solidFill>
                <a:latin typeface="Arial" pitchFamily="34" charset="0"/>
                <a:cs typeface="Arial" pitchFamily="34" charset="-120"/>
              </a:rPr>
              <a:t>+6</a:t>
            </a:r>
          </a:p>
        </p:txBody>
      </p:sp>
      <p:sp>
        <p:nvSpPr>
          <p:cNvPr id="42" name="Shape 39">
            <a:extLst>
              <a:ext uri="{FF2B5EF4-FFF2-40B4-BE49-F238E27FC236}">
                <a16:creationId xmlns:a16="http://schemas.microsoft.com/office/drawing/2014/main" id="{48462F48-199D-9CD9-3B2D-99F5C4AD9EC4}"/>
              </a:ext>
            </a:extLst>
          </p:cNvPr>
          <p:cNvSpPr/>
          <p:nvPr/>
        </p:nvSpPr>
        <p:spPr>
          <a:xfrm>
            <a:off x="2127536" y="4113784"/>
            <a:ext cx="8686800" cy="530352"/>
          </a:xfrm>
          <a:prstGeom prst="rect">
            <a:avLst/>
          </a:prstGeom>
          <a:solidFill>
            <a:srgbClr val="0D1B2A"/>
          </a:solidFill>
          <a:ln w="12700">
            <a:solidFill>
              <a:srgbClr val="1E3A5F"/>
            </a:solidFill>
            <a:prstDash val="solid"/>
          </a:ln>
        </p:spPr>
        <p:txBody>
          <a:bodyPr/>
          <a:lstStyle/>
          <a:p>
            <a:endParaRPr lang="da-DK"/>
          </a:p>
        </p:txBody>
      </p:sp>
      <p:sp>
        <p:nvSpPr>
          <p:cNvPr id="43" name="Shape 40">
            <a:extLst>
              <a:ext uri="{FF2B5EF4-FFF2-40B4-BE49-F238E27FC236}">
                <a16:creationId xmlns:a16="http://schemas.microsoft.com/office/drawing/2014/main" id="{BA881472-07F6-1F19-E615-6321FE932E30}"/>
              </a:ext>
            </a:extLst>
          </p:cNvPr>
          <p:cNvSpPr/>
          <p:nvPr/>
        </p:nvSpPr>
        <p:spPr>
          <a:xfrm>
            <a:off x="2127536" y="4113784"/>
            <a:ext cx="36576" cy="530352"/>
          </a:xfrm>
          <a:prstGeom prst="rect">
            <a:avLst/>
          </a:prstGeom>
          <a:solidFill>
            <a:srgbClr val="1A6B3C"/>
          </a:solidFill>
          <a:ln w="12700">
            <a:solidFill>
              <a:srgbClr val="1A6B3C"/>
            </a:solidFill>
            <a:prstDash val="solid"/>
          </a:ln>
        </p:spPr>
        <p:txBody>
          <a:bodyPr/>
          <a:lstStyle/>
          <a:p>
            <a:endParaRPr lang="da-DK"/>
          </a:p>
        </p:txBody>
      </p:sp>
      <p:sp>
        <p:nvSpPr>
          <p:cNvPr id="44" name="Text 41">
            <a:extLst>
              <a:ext uri="{FF2B5EF4-FFF2-40B4-BE49-F238E27FC236}">
                <a16:creationId xmlns:a16="http://schemas.microsoft.com/office/drawing/2014/main" id="{66498CB5-82EC-48FA-4A60-88DF04216238}"/>
              </a:ext>
            </a:extLst>
          </p:cNvPr>
          <p:cNvSpPr/>
          <p:nvPr/>
        </p:nvSpPr>
        <p:spPr>
          <a:xfrm>
            <a:off x="2218976" y="4113784"/>
            <a:ext cx="2286000" cy="530352"/>
          </a:xfrm>
          <a:prstGeom prst="rect">
            <a:avLst/>
          </a:prstGeom>
          <a:noFill/>
          <a:ln/>
        </p:spPr>
        <p:txBody>
          <a:bodyPr wrap="square" lIns="50800" tIns="50800" rIns="50800" bIns="50800" rtlCol="0" anchor="ctr"/>
          <a:lstStyle/>
          <a:p>
            <a:pPr marL="0" indent="0" algn="l">
              <a:buNone/>
            </a:pPr>
            <a:r>
              <a:rPr lang="en-US" sz="2000" b="1" dirty="0" err="1">
                <a:solidFill>
                  <a:srgbClr val="DDEEFF"/>
                </a:solidFill>
                <a:latin typeface="Arial" pitchFamily="34" charset="0"/>
                <a:ea typeface="Arial" pitchFamily="34" charset="-122"/>
                <a:cs typeface="Arial" pitchFamily="34" charset="-120"/>
              </a:rPr>
              <a:t>Atmosfære</a:t>
            </a:r>
            <a:endParaRPr lang="en-US" sz="2000" b="1" dirty="0"/>
          </a:p>
        </p:txBody>
      </p:sp>
      <p:sp>
        <p:nvSpPr>
          <p:cNvPr id="45" name="Shape 42">
            <a:extLst>
              <a:ext uri="{FF2B5EF4-FFF2-40B4-BE49-F238E27FC236}">
                <a16:creationId xmlns:a16="http://schemas.microsoft.com/office/drawing/2014/main" id="{B9C062AA-B479-C77E-2B96-C98A518450FB}"/>
              </a:ext>
            </a:extLst>
          </p:cNvPr>
          <p:cNvSpPr/>
          <p:nvPr/>
        </p:nvSpPr>
        <p:spPr>
          <a:xfrm>
            <a:off x="4916456" y="4186936"/>
            <a:ext cx="420624" cy="420624"/>
          </a:xfrm>
          <a:prstGeom prst="ellipse">
            <a:avLst/>
          </a:prstGeom>
          <a:solidFill>
            <a:srgbClr val="1A6B3C"/>
          </a:solidFill>
          <a:ln w="12700">
            <a:solidFill>
              <a:srgbClr val="2D9E5A"/>
            </a:solidFill>
            <a:prstDash val="solid"/>
          </a:ln>
        </p:spPr>
        <p:txBody>
          <a:bodyPr/>
          <a:lstStyle/>
          <a:p>
            <a:endParaRPr lang="da-DK"/>
          </a:p>
        </p:txBody>
      </p:sp>
      <p:sp>
        <p:nvSpPr>
          <p:cNvPr id="46" name="Text 43">
            <a:extLst>
              <a:ext uri="{FF2B5EF4-FFF2-40B4-BE49-F238E27FC236}">
                <a16:creationId xmlns:a16="http://schemas.microsoft.com/office/drawing/2014/main" id="{5C2F38D0-A265-D438-876E-7E6925073887}"/>
              </a:ext>
            </a:extLst>
          </p:cNvPr>
          <p:cNvSpPr/>
          <p:nvPr/>
        </p:nvSpPr>
        <p:spPr>
          <a:xfrm>
            <a:off x="4916456" y="4186936"/>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5</a:t>
            </a:r>
          </a:p>
        </p:txBody>
      </p:sp>
      <p:sp>
        <p:nvSpPr>
          <p:cNvPr id="47" name="Text 44">
            <a:extLst>
              <a:ext uri="{FF2B5EF4-FFF2-40B4-BE49-F238E27FC236}">
                <a16:creationId xmlns:a16="http://schemas.microsoft.com/office/drawing/2014/main" id="{DB3141C1-F28F-96F5-937F-DD2C2D659676}"/>
              </a:ext>
            </a:extLst>
          </p:cNvPr>
          <p:cNvSpPr/>
          <p:nvPr/>
        </p:nvSpPr>
        <p:spPr>
          <a:xfrm>
            <a:off x="5876576" y="4113784"/>
            <a:ext cx="1371600" cy="530352"/>
          </a:xfrm>
          <a:prstGeom prst="rect">
            <a:avLst/>
          </a:prstGeom>
          <a:noFill/>
          <a:ln/>
        </p:spPr>
        <p:txBody>
          <a:bodyPr wrap="square" lIns="0" tIns="0" rIns="0" bIns="0" rtlCol="0" anchor="ctr"/>
          <a:lstStyle/>
          <a:p>
            <a:pPr marL="0" indent="0" algn="ctr">
              <a:buNone/>
            </a:pPr>
            <a:r>
              <a:rPr lang="en-US" sz="2000" b="1">
                <a:solidFill>
                  <a:srgbClr val="2ECC71"/>
                </a:solidFill>
                <a:latin typeface="Arial" pitchFamily="34" charset="0"/>
                <a:ea typeface="Arial" pitchFamily="34" charset="-122"/>
                <a:cs typeface="Arial" pitchFamily="34" charset="-120"/>
              </a:rPr>
              <a:t>+1</a:t>
            </a:r>
            <a:endParaRPr lang="en-US" sz="2000"/>
          </a:p>
        </p:txBody>
      </p:sp>
      <p:sp>
        <p:nvSpPr>
          <p:cNvPr id="48" name="Text 45">
            <a:extLst>
              <a:ext uri="{FF2B5EF4-FFF2-40B4-BE49-F238E27FC236}">
                <a16:creationId xmlns:a16="http://schemas.microsoft.com/office/drawing/2014/main" id="{41EFEEED-AA4F-42DB-1981-DCE42353A257}"/>
              </a:ext>
            </a:extLst>
          </p:cNvPr>
          <p:cNvSpPr/>
          <p:nvPr/>
        </p:nvSpPr>
        <p:spPr>
          <a:xfrm>
            <a:off x="7248176" y="4113784"/>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80</a:t>
            </a:r>
            <a:endParaRPr lang="en-US" sz="2000">
              <a:solidFill>
                <a:schemeClr val="bg1"/>
              </a:solidFill>
            </a:endParaRPr>
          </a:p>
        </p:txBody>
      </p:sp>
      <p:sp>
        <p:nvSpPr>
          <p:cNvPr id="49" name="Shape 46">
            <a:extLst>
              <a:ext uri="{FF2B5EF4-FFF2-40B4-BE49-F238E27FC236}">
                <a16:creationId xmlns:a16="http://schemas.microsoft.com/office/drawing/2014/main" id="{DF32840B-EFE3-8576-48A1-03DEE65CC864}"/>
              </a:ext>
            </a:extLst>
          </p:cNvPr>
          <p:cNvSpPr/>
          <p:nvPr/>
        </p:nvSpPr>
        <p:spPr>
          <a:xfrm>
            <a:off x="9945656" y="4205224"/>
            <a:ext cx="731520" cy="384048"/>
          </a:xfrm>
          <a:prstGeom prst="rect">
            <a:avLst/>
          </a:prstGeom>
          <a:solidFill>
            <a:srgbClr val="1A5C35"/>
          </a:solidFill>
          <a:ln w="12700">
            <a:solidFill>
              <a:srgbClr val="2ECC71"/>
            </a:solidFill>
            <a:prstDash val="solid"/>
          </a:ln>
        </p:spPr>
        <p:txBody>
          <a:bodyPr/>
          <a:lstStyle/>
          <a:p>
            <a:endParaRPr lang="da-DK"/>
          </a:p>
        </p:txBody>
      </p:sp>
      <p:sp>
        <p:nvSpPr>
          <p:cNvPr id="50" name="Text 47">
            <a:extLst>
              <a:ext uri="{FF2B5EF4-FFF2-40B4-BE49-F238E27FC236}">
                <a16:creationId xmlns:a16="http://schemas.microsoft.com/office/drawing/2014/main" id="{7C258204-FC7E-A570-8CEA-B2B0E0BA59DD}"/>
              </a:ext>
            </a:extLst>
          </p:cNvPr>
          <p:cNvSpPr/>
          <p:nvPr/>
        </p:nvSpPr>
        <p:spPr>
          <a:xfrm>
            <a:off x="9945656" y="4205224"/>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a:t>
            </a:r>
            <a:r>
              <a:rPr lang="en-US" sz="2000" b="1">
                <a:solidFill>
                  <a:schemeClr val="bg1"/>
                </a:solidFill>
                <a:latin typeface="Arial" pitchFamily="34" charset="0"/>
                <a:cs typeface="Arial" pitchFamily="34" charset="-120"/>
              </a:rPr>
              <a:t>5</a:t>
            </a:r>
          </a:p>
        </p:txBody>
      </p:sp>
      <p:sp>
        <p:nvSpPr>
          <p:cNvPr id="51" name="Shape 48">
            <a:extLst>
              <a:ext uri="{FF2B5EF4-FFF2-40B4-BE49-F238E27FC236}">
                <a16:creationId xmlns:a16="http://schemas.microsoft.com/office/drawing/2014/main" id="{99C2056B-9943-84E7-3425-904D35BCA4A9}"/>
              </a:ext>
            </a:extLst>
          </p:cNvPr>
          <p:cNvSpPr/>
          <p:nvPr/>
        </p:nvSpPr>
        <p:spPr>
          <a:xfrm>
            <a:off x="2127536" y="4644136"/>
            <a:ext cx="8686800" cy="530352"/>
          </a:xfrm>
          <a:prstGeom prst="rect">
            <a:avLst/>
          </a:prstGeom>
          <a:solidFill>
            <a:srgbClr val="112233"/>
          </a:solidFill>
          <a:ln w="12700">
            <a:solidFill>
              <a:srgbClr val="1E3A5F"/>
            </a:solidFill>
            <a:prstDash val="solid"/>
          </a:ln>
        </p:spPr>
        <p:txBody>
          <a:bodyPr/>
          <a:lstStyle/>
          <a:p>
            <a:endParaRPr lang="da-DK"/>
          </a:p>
        </p:txBody>
      </p:sp>
      <p:sp>
        <p:nvSpPr>
          <p:cNvPr id="52" name="Shape 49">
            <a:extLst>
              <a:ext uri="{FF2B5EF4-FFF2-40B4-BE49-F238E27FC236}">
                <a16:creationId xmlns:a16="http://schemas.microsoft.com/office/drawing/2014/main" id="{BCEA9E9A-079D-8B81-BDBC-A8C928599C60}"/>
              </a:ext>
            </a:extLst>
          </p:cNvPr>
          <p:cNvSpPr/>
          <p:nvPr/>
        </p:nvSpPr>
        <p:spPr>
          <a:xfrm>
            <a:off x="2127536" y="4644136"/>
            <a:ext cx="36576" cy="530352"/>
          </a:xfrm>
          <a:prstGeom prst="rect">
            <a:avLst/>
          </a:prstGeom>
          <a:solidFill>
            <a:srgbClr val="1A6B3C"/>
          </a:solidFill>
          <a:ln w="12700">
            <a:solidFill>
              <a:srgbClr val="1A6B3C"/>
            </a:solidFill>
            <a:prstDash val="solid"/>
          </a:ln>
        </p:spPr>
        <p:txBody>
          <a:bodyPr/>
          <a:lstStyle/>
          <a:p>
            <a:endParaRPr lang="da-DK"/>
          </a:p>
        </p:txBody>
      </p:sp>
      <p:sp>
        <p:nvSpPr>
          <p:cNvPr id="53" name="Text 50">
            <a:extLst>
              <a:ext uri="{FF2B5EF4-FFF2-40B4-BE49-F238E27FC236}">
                <a16:creationId xmlns:a16="http://schemas.microsoft.com/office/drawing/2014/main" id="{084737FC-0DB2-D6BE-AE67-B0CBFEDF343D}"/>
              </a:ext>
            </a:extLst>
          </p:cNvPr>
          <p:cNvSpPr/>
          <p:nvPr/>
        </p:nvSpPr>
        <p:spPr>
          <a:xfrm>
            <a:off x="2218976" y="4644136"/>
            <a:ext cx="2286000"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ea typeface="Arial" pitchFamily="34" charset="-122"/>
                <a:cs typeface="Arial" pitchFamily="34" charset="-120"/>
              </a:rPr>
              <a:t>Pro</a:t>
            </a:r>
            <a:endParaRPr lang="en-US" sz="2000" b="1" dirty="0"/>
          </a:p>
        </p:txBody>
      </p:sp>
      <p:sp>
        <p:nvSpPr>
          <p:cNvPr id="54" name="Shape 51">
            <a:extLst>
              <a:ext uri="{FF2B5EF4-FFF2-40B4-BE49-F238E27FC236}">
                <a16:creationId xmlns:a16="http://schemas.microsoft.com/office/drawing/2014/main" id="{BF049C36-583C-8254-F423-AC99FD47F05A}"/>
              </a:ext>
            </a:extLst>
          </p:cNvPr>
          <p:cNvSpPr/>
          <p:nvPr/>
        </p:nvSpPr>
        <p:spPr>
          <a:xfrm>
            <a:off x="4916456" y="4717288"/>
            <a:ext cx="420624" cy="420624"/>
          </a:xfrm>
          <a:prstGeom prst="ellipse">
            <a:avLst/>
          </a:prstGeom>
          <a:solidFill>
            <a:srgbClr val="1A6B3C"/>
          </a:solidFill>
          <a:ln w="12700">
            <a:solidFill>
              <a:srgbClr val="2D9E5A"/>
            </a:solidFill>
            <a:prstDash val="solid"/>
          </a:ln>
        </p:spPr>
        <p:txBody>
          <a:bodyPr/>
          <a:lstStyle/>
          <a:p>
            <a:endParaRPr lang="da-DK"/>
          </a:p>
        </p:txBody>
      </p:sp>
      <p:sp>
        <p:nvSpPr>
          <p:cNvPr id="55" name="Text 52">
            <a:extLst>
              <a:ext uri="{FF2B5EF4-FFF2-40B4-BE49-F238E27FC236}">
                <a16:creationId xmlns:a16="http://schemas.microsoft.com/office/drawing/2014/main" id="{0706FA31-F8C7-C281-9738-E05B5F9B2E7F}"/>
              </a:ext>
            </a:extLst>
          </p:cNvPr>
          <p:cNvSpPr/>
          <p:nvPr/>
        </p:nvSpPr>
        <p:spPr>
          <a:xfrm>
            <a:off x="4916456" y="4717288"/>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91</a:t>
            </a:r>
          </a:p>
        </p:txBody>
      </p:sp>
      <p:sp>
        <p:nvSpPr>
          <p:cNvPr id="56" name="Text 53">
            <a:extLst>
              <a:ext uri="{FF2B5EF4-FFF2-40B4-BE49-F238E27FC236}">
                <a16:creationId xmlns:a16="http://schemas.microsoft.com/office/drawing/2014/main" id="{C4F198BF-53CE-D2A9-E35F-5D77D8788E1D}"/>
              </a:ext>
            </a:extLst>
          </p:cNvPr>
          <p:cNvSpPr/>
          <p:nvPr/>
        </p:nvSpPr>
        <p:spPr>
          <a:xfrm>
            <a:off x="5876576" y="4644136"/>
            <a:ext cx="1371600" cy="530352"/>
          </a:xfrm>
          <a:prstGeom prst="rect">
            <a:avLst/>
          </a:prstGeom>
          <a:noFill/>
          <a:ln/>
        </p:spPr>
        <p:txBody>
          <a:bodyPr wrap="square" lIns="0" tIns="0" rIns="0" bIns="0" rtlCol="0" anchor="ctr"/>
          <a:lstStyle/>
          <a:p>
            <a:pPr marL="0" indent="0" algn="ctr">
              <a:buNone/>
            </a:pPr>
            <a:r>
              <a:rPr lang="en-US" sz="1400">
                <a:solidFill>
                  <a:srgbClr val="AAAAAA"/>
                </a:solidFill>
                <a:latin typeface="Arial" pitchFamily="34" charset="0"/>
                <a:ea typeface="Arial" pitchFamily="34" charset="-122"/>
                <a:cs typeface="Arial" pitchFamily="34" charset="-120"/>
              </a:rPr>
              <a:t>-</a:t>
            </a:r>
            <a:endParaRPr lang="en-US" sz="1400"/>
          </a:p>
        </p:txBody>
      </p:sp>
      <p:sp>
        <p:nvSpPr>
          <p:cNvPr id="57" name="Text 54">
            <a:extLst>
              <a:ext uri="{FF2B5EF4-FFF2-40B4-BE49-F238E27FC236}">
                <a16:creationId xmlns:a16="http://schemas.microsoft.com/office/drawing/2014/main" id="{6D4A128D-9350-14DF-4D6D-6EDD3641919A}"/>
              </a:ext>
            </a:extLst>
          </p:cNvPr>
          <p:cNvSpPr/>
          <p:nvPr/>
        </p:nvSpPr>
        <p:spPr>
          <a:xfrm>
            <a:off x="7248176" y="4644136"/>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86</a:t>
            </a:r>
            <a:endParaRPr lang="en-US" sz="2000">
              <a:solidFill>
                <a:schemeClr val="bg1"/>
              </a:solidFill>
            </a:endParaRPr>
          </a:p>
        </p:txBody>
      </p:sp>
      <p:sp>
        <p:nvSpPr>
          <p:cNvPr id="58" name="Shape 55">
            <a:extLst>
              <a:ext uri="{FF2B5EF4-FFF2-40B4-BE49-F238E27FC236}">
                <a16:creationId xmlns:a16="http://schemas.microsoft.com/office/drawing/2014/main" id="{FB1B8D0E-2B5B-5B2F-98D1-3E840F3C2A36}"/>
              </a:ext>
            </a:extLst>
          </p:cNvPr>
          <p:cNvSpPr/>
          <p:nvPr/>
        </p:nvSpPr>
        <p:spPr>
          <a:xfrm>
            <a:off x="9945656" y="4735576"/>
            <a:ext cx="731520" cy="384048"/>
          </a:xfrm>
          <a:prstGeom prst="rect">
            <a:avLst/>
          </a:prstGeom>
          <a:solidFill>
            <a:srgbClr val="1A5C35"/>
          </a:solidFill>
          <a:ln w="12700">
            <a:solidFill>
              <a:srgbClr val="2ECC71"/>
            </a:solidFill>
            <a:prstDash val="solid"/>
          </a:ln>
        </p:spPr>
        <p:txBody>
          <a:bodyPr/>
          <a:lstStyle/>
          <a:p>
            <a:endParaRPr lang="da-DK"/>
          </a:p>
        </p:txBody>
      </p:sp>
      <p:sp>
        <p:nvSpPr>
          <p:cNvPr id="59" name="Text 56">
            <a:extLst>
              <a:ext uri="{FF2B5EF4-FFF2-40B4-BE49-F238E27FC236}">
                <a16:creationId xmlns:a16="http://schemas.microsoft.com/office/drawing/2014/main" id="{F48B835F-0A93-ADD7-27D5-3132E4CF47BE}"/>
              </a:ext>
            </a:extLst>
          </p:cNvPr>
          <p:cNvSpPr/>
          <p:nvPr/>
        </p:nvSpPr>
        <p:spPr>
          <a:xfrm>
            <a:off x="9945656" y="4735576"/>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5</a:t>
            </a:r>
            <a:endParaRPr lang="en-US" sz="2000">
              <a:solidFill>
                <a:schemeClr val="bg1"/>
              </a:solidFill>
            </a:endParaRPr>
          </a:p>
        </p:txBody>
      </p:sp>
      <p:sp>
        <p:nvSpPr>
          <p:cNvPr id="60" name="Shape 57">
            <a:extLst>
              <a:ext uri="{FF2B5EF4-FFF2-40B4-BE49-F238E27FC236}">
                <a16:creationId xmlns:a16="http://schemas.microsoft.com/office/drawing/2014/main" id="{28DC87D0-713A-9559-F6D5-F919CC143E2C}"/>
              </a:ext>
            </a:extLst>
          </p:cNvPr>
          <p:cNvSpPr/>
          <p:nvPr/>
        </p:nvSpPr>
        <p:spPr>
          <a:xfrm>
            <a:off x="2127536" y="5174488"/>
            <a:ext cx="8686800" cy="530352"/>
          </a:xfrm>
          <a:prstGeom prst="rect">
            <a:avLst/>
          </a:prstGeom>
          <a:solidFill>
            <a:srgbClr val="0D1B2A"/>
          </a:solidFill>
          <a:ln w="12700">
            <a:solidFill>
              <a:srgbClr val="1E3A5F"/>
            </a:solidFill>
            <a:prstDash val="solid"/>
          </a:ln>
        </p:spPr>
        <p:txBody>
          <a:bodyPr/>
          <a:lstStyle/>
          <a:p>
            <a:endParaRPr lang="da-DK"/>
          </a:p>
        </p:txBody>
      </p:sp>
      <p:sp>
        <p:nvSpPr>
          <p:cNvPr id="61" name="Shape 58">
            <a:extLst>
              <a:ext uri="{FF2B5EF4-FFF2-40B4-BE49-F238E27FC236}">
                <a16:creationId xmlns:a16="http://schemas.microsoft.com/office/drawing/2014/main" id="{9CD26B88-F7A8-1760-DC51-A57DAED0655D}"/>
              </a:ext>
            </a:extLst>
          </p:cNvPr>
          <p:cNvSpPr/>
          <p:nvPr/>
        </p:nvSpPr>
        <p:spPr>
          <a:xfrm>
            <a:off x="2127536" y="5174488"/>
            <a:ext cx="36576" cy="530352"/>
          </a:xfrm>
          <a:prstGeom prst="rect">
            <a:avLst/>
          </a:prstGeom>
          <a:solidFill>
            <a:srgbClr val="1A6B3C"/>
          </a:solidFill>
          <a:ln w="12700">
            <a:solidFill>
              <a:srgbClr val="1A6B3C"/>
            </a:solidFill>
            <a:prstDash val="solid"/>
          </a:ln>
        </p:spPr>
        <p:txBody>
          <a:bodyPr/>
          <a:lstStyle/>
          <a:p>
            <a:endParaRPr lang="da-DK"/>
          </a:p>
        </p:txBody>
      </p:sp>
      <p:sp>
        <p:nvSpPr>
          <p:cNvPr id="62" name="Text 59">
            <a:extLst>
              <a:ext uri="{FF2B5EF4-FFF2-40B4-BE49-F238E27FC236}">
                <a16:creationId xmlns:a16="http://schemas.microsoft.com/office/drawing/2014/main" id="{E982E665-3B10-8FDB-5769-0F19BAACDC12}"/>
              </a:ext>
            </a:extLst>
          </p:cNvPr>
          <p:cNvSpPr/>
          <p:nvPr/>
        </p:nvSpPr>
        <p:spPr>
          <a:xfrm>
            <a:off x="2218976" y="5174488"/>
            <a:ext cx="2286000"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ea typeface="Arial" pitchFamily="34" charset="-122"/>
                <a:cs typeface="Arial" pitchFamily="34" charset="-120"/>
              </a:rPr>
              <a:t>Cafe</a:t>
            </a:r>
            <a:endParaRPr lang="en-US" sz="2000" b="1" dirty="0"/>
          </a:p>
        </p:txBody>
      </p:sp>
      <p:sp>
        <p:nvSpPr>
          <p:cNvPr id="63" name="Shape 60">
            <a:extLst>
              <a:ext uri="{FF2B5EF4-FFF2-40B4-BE49-F238E27FC236}">
                <a16:creationId xmlns:a16="http://schemas.microsoft.com/office/drawing/2014/main" id="{DC7A7EDB-30EB-BD0C-3E7D-194D393460CD}"/>
              </a:ext>
            </a:extLst>
          </p:cNvPr>
          <p:cNvSpPr/>
          <p:nvPr/>
        </p:nvSpPr>
        <p:spPr>
          <a:xfrm>
            <a:off x="4916456" y="5247640"/>
            <a:ext cx="420624" cy="420624"/>
          </a:xfrm>
          <a:prstGeom prst="ellipse">
            <a:avLst/>
          </a:prstGeom>
          <a:solidFill>
            <a:srgbClr val="1A6B3C"/>
          </a:solidFill>
          <a:ln w="12700">
            <a:solidFill>
              <a:srgbClr val="2D9E5A"/>
            </a:solidFill>
            <a:prstDash val="solid"/>
          </a:ln>
        </p:spPr>
        <p:txBody>
          <a:bodyPr/>
          <a:lstStyle/>
          <a:p>
            <a:endParaRPr lang="da-DK"/>
          </a:p>
        </p:txBody>
      </p:sp>
      <p:sp>
        <p:nvSpPr>
          <p:cNvPr id="64" name="Text 61">
            <a:extLst>
              <a:ext uri="{FF2B5EF4-FFF2-40B4-BE49-F238E27FC236}">
                <a16:creationId xmlns:a16="http://schemas.microsoft.com/office/drawing/2014/main" id="{B3461C20-7A7E-88F1-05FF-519617A229A4}"/>
              </a:ext>
            </a:extLst>
          </p:cNvPr>
          <p:cNvSpPr/>
          <p:nvPr/>
        </p:nvSpPr>
        <p:spPr>
          <a:xfrm>
            <a:off x="4916456" y="5247640"/>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75</a:t>
            </a:r>
          </a:p>
        </p:txBody>
      </p:sp>
      <p:sp>
        <p:nvSpPr>
          <p:cNvPr id="65" name="Text 62">
            <a:extLst>
              <a:ext uri="{FF2B5EF4-FFF2-40B4-BE49-F238E27FC236}">
                <a16:creationId xmlns:a16="http://schemas.microsoft.com/office/drawing/2014/main" id="{BDBD4DFD-0EC0-BC1C-D590-E54D4D2B9A59}"/>
              </a:ext>
            </a:extLst>
          </p:cNvPr>
          <p:cNvSpPr/>
          <p:nvPr/>
        </p:nvSpPr>
        <p:spPr>
          <a:xfrm>
            <a:off x="5876576" y="5174488"/>
            <a:ext cx="1371600" cy="530352"/>
          </a:xfrm>
          <a:prstGeom prst="rect">
            <a:avLst/>
          </a:prstGeom>
          <a:noFill/>
          <a:ln/>
        </p:spPr>
        <p:txBody>
          <a:bodyPr wrap="square" lIns="0" tIns="0" rIns="0" bIns="0" rtlCol="0" anchor="ctr"/>
          <a:lstStyle/>
          <a:p>
            <a:pPr marL="0" indent="0" algn="ctr">
              <a:buNone/>
            </a:pPr>
            <a:r>
              <a:rPr lang="en-US" sz="1400">
                <a:solidFill>
                  <a:srgbClr val="AAAAAA"/>
                </a:solidFill>
                <a:latin typeface="Arial" pitchFamily="34" charset="0"/>
                <a:ea typeface="Arial" pitchFamily="34" charset="-122"/>
                <a:cs typeface="Arial" pitchFamily="34" charset="-120"/>
              </a:rPr>
              <a:t>-</a:t>
            </a:r>
            <a:endParaRPr lang="en-US" sz="1400"/>
          </a:p>
        </p:txBody>
      </p:sp>
      <p:sp>
        <p:nvSpPr>
          <p:cNvPr id="66" name="Text 63">
            <a:extLst>
              <a:ext uri="{FF2B5EF4-FFF2-40B4-BE49-F238E27FC236}">
                <a16:creationId xmlns:a16="http://schemas.microsoft.com/office/drawing/2014/main" id="{E62A5627-1E85-61DB-C12F-5C26F085BAF3}"/>
              </a:ext>
            </a:extLst>
          </p:cNvPr>
          <p:cNvSpPr/>
          <p:nvPr/>
        </p:nvSpPr>
        <p:spPr>
          <a:xfrm>
            <a:off x="7248176" y="5174488"/>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76</a:t>
            </a:r>
            <a:endParaRPr lang="en-US" sz="2000">
              <a:solidFill>
                <a:schemeClr val="bg1"/>
              </a:solidFill>
            </a:endParaRPr>
          </a:p>
        </p:txBody>
      </p:sp>
      <p:sp>
        <p:nvSpPr>
          <p:cNvPr id="67" name="Shape 64">
            <a:extLst>
              <a:ext uri="{FF2B5EF4-FFF2-40B4-BE49-F238E27FC236}">
                <a16:creationId xmlns:a16="http://schemas.microsoft.com/office/drawing/2014/main" id="{E49559BE-6A4D-492D-1D4A-9C5A4F2F54C3}"/>
              </a:ext>
            </a:extLst>
          </p:cNvPr>
          <p:cNvSpPr/>
          <p:nvPr/>
        </p:nvSpPr>
        <p:spPr>
          <a:xfrm>
            <a:off x="9945656" y="5265928"/>
            <a:ext cx="731520" cy="384048"/>
          </a:xfrm>
          <a:prstGeom prst="rect">
            <a:avLst/>
          </a:prstGeom>
          <a:solidFill>
            <a:srgbClr val="7B1818"/>
          </a:solidFill>
          <a:ln w="12700">
            <a:solidFill>
              <a:srgbClr val="E74C3C"/>
            </a:solidFill>
            <a:prstDash val="solid"/>
          </a:ln>
        </p:spPr>
        <p:txBody>
          <a:bodyPr/>
          <a:lstStyle/>
          <a:p>
            <a:endParaRPr lang="da-DK"/>
          </a:p>
        </p:txBody>
      </p:sp>
      <p:sp>
        <p:nvSpPr>
          <p:cNvPr id="68" name="Text 65">
            <a:extLst>
              <a:ext uri="{FF2B5EF4-FFF2-40B4-BE49-F238E27FC236}">
                <a16:creationId xmlns:a16="http://schemas.microsoft.com/office/drawing/2014/main" id="{D01B10CF-3EF4-E82C-8FD2-AFA2C177A14D}"/>
              </a:ext>
            </a:extLst>
          </p:cNvPr>
          <p:cNvSpPr/>
          <p:nvPr/>
        </p:nvSpPr>
        <p:spPr>
          <a:xfrm>
            <a:off x="9945656" y="5265928"/>
            <a:ext cx="731520" cy="384048"/>
          </a:xfrm>
          <a:prstGeom prst="rect">
            <a:avLst/>
          </a:prstGeom>
          <a:noFill/>
          <a:ln/>
        </p:spPr>
        <p:txBody>
          <a:bodyPr wrap="square" lIns="0" tIns="0" rIns="0" bIns="0" rtlCol="0" anchor="ctr"/>
          <a:lstStyle/>
          <a:p>
            <a:pPr marL="0" indent="0" algn="ctr">
              <a:buNone/>
            </a:pPr>
            <a:r>
              <a:rPr lang="en-US" sz="2000" b="1" dirty="0">
                <a:solidFill>
                  <a:schemeClr val="bg1"/>
                </a:solidFill>
                <a:latin typeface="Arial" pitchFamily="34" charset="0"/>
                <a:ea typeface="Arial" pitchFamily="34" charset="-122"/>
                <a:cs typeface="Arial" pitchFamily="34" charset="-120"/>
              </a:rPr>
              <a:t>-1</a:t>
            </a:r>
            <a:endParaRPr lang="en-US" sz="2000" dirty="0">
              <a:solidFill>
                <a:schemeClr val="bg1"/>
              </a:solidFill>
            </a:endParaRPr>
          </a:p>
        </p:txBody>
      </p:sp>
    </p:spTree>
    <p:extLst>
      <p:ext uri="{BB962C8B-B14F-4D97-AF65-F5344CB8AC3E}">
        <p14:creationId xmlns:p14="http://schemas.microsoft.com/office/powerpoint/2010/main" val="361172233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EECE4-FFE3-AA39-4929-9DBCD3FB87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D8BA1F3-799F-0B46-E82B-B386D0C91C45}"/>
              </a:ext>
            </a:extLst>
          </p:cNvPr>
          <p:cNvSpPr>
            <a:spLocks noGrp="1"/>
          </p:cNvSpPr>
          <p:nvPr>
            <p:ph type="title"/>
          </p:nvPr>
        </p:nvSpPr>
        <p:spPr>
          <a:xfrm>
            <a:off x="1298864" y="247832"/>
            <a:ext cx="9590809" cy="1338696"/>
          </a:xfrm>
        </p:spPr>
        <p:txBody>
          <a:bodyPr vert="horz" lIns="91440" tIns="45720" rIns="91440" bIns="45720" rtlCol="0" anchor="ctr">
            <a:noAutofit/>
          </a:bodyPr>
          <a:lstStyle/>
          <a:p>
            <a:r>
              <a:rPr lang="en-US" sz="5400" b="1"/>
              <a:t>PLAYERS FIRST HIGHLIGHTS</a:t>
            </a:r>
            <a:br>
              <a:rPr lang="en-US" sz="5400" b="1"/>
            </a:br>
            <a:r>
              <a:rPr lang="en-US" sz="5400" b="1" i="1"/>
              <a:t>GÆSTER</a:t>
            </a:r>
            <a:endParaRPr lang="en-US" sz="5400" b="1" i="1" u="sng"/>
          </a:p>
        </p:txBody>
      </p:sp>
      <p:pic>
        <p:nvPicPr>
          <p:cNvPr id="5" name="Pladsholder til indhold 4">
            <a:extLst>
              <a:ext uri="{FF2B5EF4-FFF2-40B4-BE49-F238E27FC236}">
                <a16:creationId xmlns:a16="http://schemas.microsoft.com/office/drawing/2014/main" id="{8F5D1207-7834-EE6D-1A3D-9C188979AC54}"/>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313C37AF-FE54-18B8-FA20-A5256CF37B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9" name="Shape 6">
            <a:extLst>
              <a:ext uri="{FF2B5EF4-FFF2-40B4-BE49-F238E27FC236}">
                <a16:creationId xmlns:a16="http://schemas.microsoft.com/office/drawing/2014/main" id="{FFCD7F67-486D-884E-8D77-5B16511E9727}"/>
              </a:ext>
            </a:extLst>
          </p:cNvPr>
          <p:cNvSpPr/>
          <p:nvPr/>
        </p:nvSpPr>
        <p:spPr>
          <a:xfrm>
            <a:off x="2127536" y="2631440"/>
            <a:ext cx="8686800" cy="475488"/>
          </a:xfrm>
          <a:prstGeom prst="rect">
            <a:avLst/>
          </a:prstGeom>
          <a:solidFill>
            <a:srgbClr val="1A6B3C"/>
          </a:solidFill>
          <a:ln w="12700">
            <a:solidFill>
              <a:srgbClr val="1A6B3C"/>
            </a:solidFill>
            <a:prstDash val="solid"/>
          </a:ln>
        </p:spPr>
        <p:txBody>
          <a:bodyPr/>
          <a:lstStyle/>
          <a:p>
            <a:endParaRPr lang="da-DK"/>
          </a:p>
        </p:txBody>
      </p:sp>
      <p:sp>
        <p:nvSpPr>
          <p:cNvPr id="10" name="Text 7">
            <a:extLst>
              <a:ext uri="{FF2B5EF4-FFF2-40B4-BE49-F238E27FC236}">
                <a16:creationId xmlns:a16="http://schemas.microsoft.com/office/drawing/2014/main" id="{9D956EE2-4830-44A4-E86A-BF294818BBFE}"/>
              </a:ext>
            </a:extLst>
          </p:cNvPr>
          <p:cNvSpPr/>
          <p:nvPr/>
        </p:nvSpPr>
        <p:spPr>
          <a:xfrm>
            <a:off x="2200688" y="2631440"/>
            <a:ext cx="2304288" cy="475488"/>
          </a:xfrm>
          <a:prstGeom prst="rect">
            <a:avLst/>
          </a:prstGeom>
          <a:noFill/>
          <a:ln/>
        </p:spPr>
        <p:txBody>
          <a:bodyPr wrap="square" lIns="50800" tIns="50800" rIns="50800" bIns="50800" rtlCol="0" anchor="ctr"/>
          <a:lstStyle/>
          <a:p>
            <a:pPr marL="0" indent="0" algn="l">
              <a:buNone/>
            </a:pPr>
            <a:r>
              <a:rPr lang="en-US" sz="1600" b="1">
                <a:solidFill>
                  <a:srgbClr val="FFFFFF"/>
                </a:solidFill>
                <a:latin typeface="Arial" pitchFamily="34" charset="0"/>
                <a:ea typeface="Arial" pitchFamily="34" charset="-122"/>
                <a:cs typeface="Arial" pitchFamily="34" charset="-120"/>
              </a:rPr>
              <a:t>KATEGORI</a:t>
            </a:r>
            <a:endParaRPr lang="en-US" sz="1600"/>
          </a:p>
        </p:txBody>
      </p:sp>
      <p:sp>
        <p:nvSpPr>
          <p:cNvPr id="11" name="Text 8">
            <a:extLst>
              <a:ext uri="{FF2B5EF4-FFF2-40B4-BE49-F238E27FC236}">
                <a16:creationId xmlns:a16="http://schemas.microsoft.com/office/drawing/2014/main" id="{0EA2A059-6E73-F5A5-EDDC-D4A88DB5BFBF}"/>
              </a:ext>
            </a:extLst>
          </p:cNvPr>
          <p:cNvSpPr/>
          <p:nvPr/>
        </p:nvSpPr>
        <p:spPr>
          <a:xfrm>
            <a:off x="4578128" y="2631440"/>
            <a:ext cx="129844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HGK 2025</a:t>
            </a:r>
            <a:endParaRPr lang="en-US" sz="1600"/>
          </a:p>
        </p:txBody>
      </p:sp>
      <p:sp>
        <p:nvSpPr>
          <p:cNvPr id="12" name="Text 9">
            <a:extLst>
              <a:ext uri="{FF2B5EF4-FFF2-40B4-BE49-F238E27FC236}">
                <a16:creationId xmlns:a16="http://schemas.microsoft.com/office/drawing/2014/main" id="{6FDD36E6-F63F-E974-4B91-6833AA1E5100}"/>
              </a:ext>
            </a:extLst>
          </p:cNvPr>
          <p:cNvSpPr/>
          <p:nvPr/>
        </p:nvSpPr>
        <p:spPr>
          <a:xfrm>
            <a:off x="5949728" y="2631440"/>
            <a:ext cx="129844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25 VS. 24</a:t>
            </a:r>
            <a:endParaRPr lang="en-US" sz="1600"/>
          </a:p>
        </p:txBody>
      </p:sp>
      <p:sp>
        <p:nvSpPr>
          <p:cNvPr id="13" name="Text 10">
            <a:extLst>
              <a:ext uri="{FF2B5EF4-FFF2-40B4-BE49-F238E27FC236}">
                <a16:creationId xmlns:a16="http://schemas.microsoft.com/office/drawing/2014/main" id="{66DA5401-6ABA-48CB-5E7D-F90E83D3C4F8}"/>
              </a:ext>
            </a:extLst>
          </p:cNvPr>
          <p:cNvSpPr/>
          <p:nvPr/>
        </p:nvSpPr>
        <p:spPr>
          <a:xfrm>
            <a:off x="7321328" y="2631440"/>
            <a:ext cx="2304288"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MIDTJYLLAND 25</a:t>
            </a:r>
            <a:endParaRPr lang="en-US" sz="1600"/>
          </a:p>
        </p:txBody>
      </p:sp>
      <p:sp>
        <p:nvSpPr>
          <p:cNvPr id="14" name="Text 11">
            <a:extLst>
              <a:ext uri="{FF2B5EF4-FFF2-40B4-BE49-F238E27FC236}">
                <a16:creationId xmlns:a16="http://schemas.microsoft.com/office/drawing/2014/main" id="{F877B9BC-6AA1-3DD5-17F6-1371295BD9FD}"/>
              </a:ext>
            </a:extLst>
          </p:cNvPr>
          <p:cNvSpPr/>
          <p:nvPr/>
        </p:nvSpPr>
        <p:spPr>
          <a:xfrm>
            <a:off x="9849136" y="2631440"/>
            <a:ext cx="965200" cy="475488"/>
          </a:xfrm>
          <a:prstGeom prst="rect">
            <a:avLst/>
          </a:prstGeom>
          <a:noFill/>
          <a:ln/>
        </p:spPr>
        <p:txBody>
          <a:bodyPr wrap="square" lIns="50800" tIns="50800" rIns="50800" bIns="50800" rtlCol="0" anchor="ctr"/>
          <a:lstStyle/>
          <a:p>
            <a:pPr marL="0" indent="0" algn="ctr">
              <a:buNone/>
            </a:pPr>
            <a:r>
              <a:rPr lang="en-US" sz="1600" b="1">
                <a:solidFill>
                  <a:srgbClr val="FFFFFF"/>
                </a:solidFill>
                <a:latin typeface="Arial" pitchFamily="34" charset="0"/>
                <a:ea typeface="Arial" pitchFamily="34" charset="-122"/>
                <a:cs typeface="Arial" pitchFamily="34" charset="-120"/>
              </a:rPr>
              <a:t>HGK VS MJ</a:t>
            </a:r>
            <a:endParaRPr lang="en-US" sz="1600"/>
          </a:p>
        </p:txBody>
      </p:sp>
      <p:sp>
        <p:nvSpPr>
          <p:cNvPr id="15" name="Shape 12">
            <a:extLst>
              <a:ext uri="{FF2B5EF4-FFF2-40B4-BE49-F238E27FC236}">
                <a16:creationId xmlns:a16="http://schemas.microsoft.com/office/drawing/2014/main" id="{263F7493-732F-657E-5C4E-AE279D0F527D}"/>
              </a:ext>
            </a:extLst>
          </p:cNvPr>
          <p:cNvSpPr/>
          <p:nvPr/>
        </p:nvSpPr>
        <p:spPr>
          <a:xfrm>
            <a:off x="2127536" y="3106928"/>
            <a:ext cx="8686800" cy="530352"/>
          </a:xfrm>
          <a:prstGeom prst="rect">
            <a:avLst/>
          </a:prstGeom>
          <a:solidFill>
            <a:srgbClr val="112233"/>
          </a:solidFill>
          <a:ln w="12700">
            <a:solidFill>
              <a:srgbClr val="1E3A5F"/>
            </a:solidFill>
            <a:prstDash val="solid"/>
          </a:ln>
        </p:spPr>
        <p:txBody>
          <a:bodyPr/>
          <a:lstStyle/>
          <a:p>
            <a:endParaRPr lang="da-DK"/>
          </a:p>
        </p:txBody>
      </p:sp>
      <p:sp>
        <p:nvSpPr>
          <p:cNvPr id="16" name="Shape 13">
            <a:extLst>
              <a:ext uri="{FF2B5EF4-FFF2-40B4-BE49-F238E27FC236}">
                <a16:creationId xmlns:a16="http://schemas.microsoft.com/office/drawing/2014/main" id="{A570E402-3AA6-69B6-B848-5147A1DA0C48}"/>
              </a:ext>
            </a:extLst>
          </p:cNvPr>
          <p:cNvSpPr/>
          <p:nvPr/>
        </p:nvSpPr>
        <p:spPr>
          <a:xfrm>
            <a:off x="2127536" y="3106928"/>
            <a:ext cx="36576" cy="530352"/>
          </a:xfrm>
          <a:prstGeom prst="rect">
            <a:avLst/>
          </a:prstGeom>
          <a:solidFill>
            <a:srgbClr val="1A6B3C"/>
          </a:solidFill>
          <a:ln w="12700">
            <a:solidFill>
              <a:srgbClr val="1A6B3C"/>
            </a:solidFill>
            <a:prstDash val="solid"/>
          </a:ln>
        </p:spPr>
        <p:txBody>
          <a:bodyPr/>
          <a:lstStyle/>
          <a:p>
            <a:endParaRPr lang="da-DK"/>
          </a:p>
        </p:txBody>
      </p:sp>
      <p:sp>
        <p:nvSpPr>
          <p:cNvPr id="17" name="Text 14">
            <a:extLst>
              <a:ext uri="{FF2B5EF4-FFF2-40B4-BE49-F238E27FC236}">
                <a16:creationId xmlns:a16="http://schemas.microsoft.com/office/drawing/2014/main" id="{98F7A0CC-0342-F4F6-A911-196F55843BBC}"/>
              </a:ext>
            </a:extLst>
          </p:cNvPr>
          <p:cNvSpPr/>
          <p:nvPr/>
        </p:nvSpPr>
        <p:spPr>
          <a:xfrm>
            <a:off x="2218976" y="3106928"/>
            <a:ext cx="2286000" cy="530352"/>
          </a:xfrm>
          <a:prstGeom prst="rect">
            <a:avLst/>
          </a:prstGeom>
          <a:noFill/>
          <a:ln/>
        </p:spPr>
        <p:txBody>
          <a:bodyPr wrap="square" lIns="50800" tIns="50800" rIns="50800" bIns="50800" rtlCol="0" anchor="ctr"/>
          <a:lstStyle/>
          <a:p>
            <a:pPr marL="0" indent="0" algn="l">
              <a:buNone/>
            </a:pPr>
            <a:r>
              <a:rPr lang="en-US" sz="2000" b="1" dirty="0" err="1">
                <a:solidFill>
                  <a:srgbClr val="DDEEFF"/>
                </a:solidFill>
                <a:latin typeface="Arial" pitchFamily="34" charset="0"/>
                <a:ea typeface="Arial" pitchFamily="34" charset="-122"/>
                <a:cs typeface="Arial" pitchFamily="34" charset="-120"/>
              </a:rPr>
              <a:t>Anbefaling</a:t>
            </a:r>
            <a:r>
              <a:rPr lang="en-US" sz="2000" b="1" dirty="0">
                <a:solidFill>
                  <a:srgbClr val="DDEEFF"/>
                </a:solidFill>
                <a:latin typeface="Arial" pitchFamily="34" charset="0"/>
                <a:ea typeface="Arial" pitchFamily="34" charset="-122"/>
                <a:cs typeface="Arial" pitchFamily="34" charset="-120"/>
              </a:rPr>
              <a:t> *</a:t>
            </a:r>
            <a:endParaRPr lang="en-US" sz="2000" b="1" dirty="0"/>
          </a:p>
        </p:txBody>
      </p:sp>
      <p:sp>
        <p:nvSpPr>
          <p:cNvPr id="18" name="Shape 15">
            <a:extLst>
              <a:ext uri="{FF2B5EF4-FFF2-40B4-BE49-F238E27FC236}">
                <a16:creationId xmlns:a16="http://schemas.microsoft.com/office/drawing/2014/main" id="{15ED3875-5C47-F877-C07C-F366EC6C3ABF}"/>
              </a:ext>
            </a:extLst>
          </p:cNvPr>
          <p:cNvSpPr/>
          <p:nvPr/>
        </p:nvSpPr>
        <p:spPr>
          <a:xfrm>
            <a:off x="4916456" y="3180080"/>
            <a:ext cx="420624" cy="420624"/>
          </a:xfrm>
          <a:prstGeom prst="ellipse">
            <a:avLst/>
          </a:prstGeom>
          <a:solidFill>
            <a:srgbClr val="1A6B3C"/>
          </a:solidFill>
          <a:ln w="12700">
            <a:solidFill>
              <a:srgbClr val="2D9E5A"/>
            </a:solidFill>
            <a:prstDash val="solid"/>
          </a:ln>
        </p:spPr>
        <p:txBody>
          <a:bodyPr/>
          <a:lstStyle/>
          <a:p>
            <a:endParaRPr lang="da-DK"/>
          </a:p>
        </p:txBody>
      </p:sp>
      <p:sp>
        <p:nvSpPr>
          <p:cNvPr id="19" name="Text 16">
            <a:extLst>
              <a:ext uri="{FF2B5EF4-FFF2-40B4-BE49-F238E27FC236}">
                <a16:creationId xmlns:a16="http://schemas.microsoft.com/office/drawing/2014/main" id="{7CF93637-0A7B-E30B-AF52-68228BEE5F49}"/>
              </a:ext>
            </a:extLst>
          </p:cNvPr>
          <p:cNvSpPr/>
          <p:nvPr/>
        </p:nvSpPr>
        <p:spPr>
          <a:xfrm>
            <a:off x="4916456" y="3180080"/>
            <a:ext cx="420624" cy="420624"/>
          </a:xfrm>
          <a:prstGeom prst="rect">
            <a:avLst/>
          </a:prstGeom>
          <a:noFill/>
          <a:ln/>
        </p:spPr>
        <p:txBody>
          <a:bodyPr wrap="square" lIns="0" tIns="0" rIns="0" bIns="0" rtlCol="0" anchor="ctr"/>
          <a:lstStyle/>
          <a:p>
            <a:pPr marL="0" indent="0" algn="ctr">
              <a:buNone/>
            </a:pPr>
            <a:r>
              <a:rPr lang="en-US" sz="2000" b="1">
                <a:solidFill>
                  <a:srgbClr val="FFFFFF"/>
                </a:solidFill>
                <a:latin typeface="Arial" pitchFamily="34" charset="0"/>
                <a:ea typeface="Arial" pitchFamily="34" charset="-122"/>
                <a:cs typeface="Arial" pitchFamily="34" charset="-120"/>
              </a:rPr>
              <a:t>52</a:t>
            </a:r>
            <a:endParaRPr lang="en-US" sz="2000"/>
          </a:p>
        </p:txBody>
      </p:sp>
      <p:sp>
        <p:nvSpPr>
          <p:cNvPr id="20" name="Text 17">
            <a:extLst>
              <a:ext uri="{FF2B5EF4-FFF2-40B4-BE49-F238E27FC236}">
                <a16:creationId xmlns:a16="http://schemas.microsoft.com/office/drawing/2014/main" id="{B635C66A-80C9-426E-9B2D-08182D8CF01A}"/>
              </a:ext>
            </a:extLst>
          </p:cNvPr>
          <p:cNvSpPr/>
          <p:nvPr/>
        </p:nvSpPr>
        <p:spPr>
          <a:xfrm>
            <a:off x="5876576" y="3106928"/>
            <a:ext cx="1371600" cy="530352"/>
          </a:xfrm>
          <a:prstGeom prst="rect">
            <a:avLst/>
          </a:prstGeom>
          <a:noFill/>
          <a:ln/>
        </p:spPr>
        <p:txBody>
          <a:bodyPr wrap="square" lIns="0" tIns="0" rIns="0" bIns="0" rtlCol="0" anchor="ctr"/>
          <a:lstStyle/>
          <a:p>
            <a:pPr algn="ctr"/>
            <a:r>
              <a:rPr lang="en-US" sz="2000" b="1">
                <a:solidFill>
                  <a:srgbClr val="2ECC71"/>
                </a:solidFill>
                <a:latin typeface="Arial" pitchFamily="34" charset="0"/>
                <a:ea typeface="Arial" pitchFamily="34" charset="-122"/>
                <a:cs typeface="Arial" pitchFamily="34" charset="-120"/>
              </a:rPr>
              <a:t>+1</a:t>
            </a:r>
            <a:endParaRPr lang="en-US" sz="2000"/>
          </a:p>
        </p:txBody>
      </p:sp>
      <p:sp>
        <p:nvSpPr>
          <p:cNvPr id="21" name="Text 18">
            <a:extLst>
              <a:ext uri="{FF2B5EF4-FFF2-40B4-BE49-F238E27FC236}">
                <a16:creationId xmlns:a16="http://schemas.microsoft.com/office/drawing/2014/main" id="{EBD3F04A-16DC-C266-28E8-94102E0DBE4B}"/>
              </a:ext>
            </a:extLst>
          </p:cNvPr>
          <p:cNvSpPr/>
          <p:nvPr/>
        </p:nvSpPr>
        <p:spPr>
          <a:xfrm>
            <a:off x="7248176" y="3106928"/>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ea typeface="Arial" pitchFamily="34" charset="-122"/>
                <a:cs typeface="Arial" pitchFamily="34" charset="-120"/>
              </a:rPr>
              <a:t>41</a:t>
            </a:r>
            <a:endParaRPr lang="en-US" sz="2000">
              <a:solidFill>
                <a:schemeClr val="bg1"/>
              </a:solidFill>
            </a:endParaRPr>
          </a:p>
        </p:txBody>
      </p:sp>
      <p:sp>
        <p:nvSpPr>
          <p:cNvPr id="22" name="Shape 19">
            <a:extLst>
              <a:ext uri="{FF2B5EF4-FFF2-40B4-BE49-F238E27FC236}">
                <a16:creationId xmlns:a16="http://schemas.microsoft.com/office/drawing/2014/main" id="{27DC6686-95AC-6071-139F-2601C939A7D8}"/>
              </a:ext>
            </a:extLst>
          </p:cNvPr>
          <p:cNvSpPr/>
          <p:nvPr/>
        </p:nvSpPr>
        <p:spPr>
          <a:xfrm>
            <a:off x="9945656" y="3198368"/>
            <a:ext cx="731520" cy="384048"/>
          </a:xfrm>
          <a:prstGeom prst="rect">
            <a:avLst/>
          </a:prstGeom>
          <a:solidFill>
            <a:srgbClr val="1A5C35"/>
          </a:solidFill>
          <a:ln w="12700">
            <a:solidFill>
              <a:srgbClr val="2ECC71"/>
            </a:solidFill>
            <a:prstDash val="solid"/>
          </a:ln>
        </p:spPr>
        <p:txBody>
          <a:bodyPr/>
          <a:lstStyle/>
          <a:p>
            <a:endParaRPr lang="da-DK"/>
          </a:p>
        </p:txBody>
      </p:sp>
      <p:sp>
        <p:nvSpPr>
          <p:cNvPr id="23" name="Text 20">
            <a:extLst>
              <a:ext uri="{FF2B5EF4-FFF2-40B4-BE49-F238E27FC236}">
                <a16:creationId xmlns:a16="http://schemas.microsoft.com/office/drawing/2014/main" id="{280708FE-820F-A1E2-BF90-29B72548ABBA}"/>
              </a:ext>
            </a:extLst>
          </p:cNvPr>
          <p:cNvSpPr/>
          <p:nvPr/>
        </p:nvSpPr>
        <p:spPr>
          <a:xfrm>
            <a:off x="9945656" y="3198368"/>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11</a:t>
            </a:r>
            <a:endParaRPr lang="en-US" sz="2000">
              <a:solidFill>
                <a:schemeClr val="bg1"/>
              </a:solidFill>
            </a:endParaRPr>
          </a:p>
        </p:txBody>
      </p:sp>
      <p:sp>
        <p:nvSpPr>
          <p:cNvPr id="24" name="Shape 21">
            <a:extLst>
              <a:ext uri="{FF2B5EF4-FFF2-40B4-BE49-F238E27FC236}">
                <a16:creationId xmlns:a16="http://schemas.microsoft.com/office/drawing/2014/main" id="{C2E87E61-B894-0271-26AA-66DC29C763F3}"/>
              </a:ext>
            </a:extLst>
          </p:cNvPr>
          <p:cNvSpPr/>
          <p:nvPr/>
        </p:nvSpPr>
        <p:spPr>
          <a:xfrm>
            <a:off x="2127536" y="3637280"/>
            <a:ext cx="8686800" cy="530352"/>
          </a:xfrm>
          <a:prstGeom prst="rect">
            <a:avLst/>
          </a:prstGeom>
          <a:solidFill>
            <a:srgbClr val="0D1B2A"/>
          </a:solidFill>
          <a:ln w="12700">
            <a:solidFill>
              <a:srgbClr val="1E3A5F"/>
            </a:solidFill>
            <a:prstDash val="solid"/>
          </a:ln>
        </p:spPr>
        <p:txBody>
          <a:bodyPr/>
          <a:lstStyle/>
          <a:p>
            <a:endParaRPr lang="da-DK"/>
          </a:p>
        </p:txBody>
      </p:sp>
      <p:sp>
        <p:nvSpPr>
          <p:cNvPr id="25" name="Shape 22">
            <a:extLst>
              <a:ext uri="{FF2B5EF4-FFF2-40B4-BE49-F238E27FC236}">
                <a16:creationId xmlns:a16="http://schemas.microsoft.com/office/drawing/2014/main" id="{CF5BF984-2EED-81FD-D3B7-AE02A5ACA887}"/>
              </a:ext>
            </a:extLst>
          </p:cNvPr>
          <p:cNvSpPr/>
          <p:nvPr/>
        </p:nvSpPr>
        <p:spPr>
          <a:xfrm>
            <a:off x="2127536" y="3637280"/>
            <a:ext cx="36576" cy="530352"/>
          </a:xfrm>
          <a:prstGeom prst="rect">
            <a:avLst/>
          </a:prstGeom>
          <a:solidFill>
            <a:srgbClr val="1A6B3C"/>
          </a:solidFill>
          <a:ln w="12700">
            <a:solidFill>
              <a:srgbClr val="1A6B3C"/>
            </a:solidFill>
            <a:prstDash val="solid"/>
          </a:ln>
        </p:spPr>
        <p:txBody>
          <a:bodyPr/>
          <a:lstStyle/>
          <a:p>
            <a:endParaRPr lang="da-DK"/>
          </a:p>
        </p:txBody>
      </p:sp>
      <p:sp>
        <p:nvSpPr>
          <p:cNvPr id="26" name="Text 23">
            <a:extLst>
              <a:ext uri="{FF2B5EF4-FFF2-40B4-BE49-F238E27FC236}">
                <a16:creationId xmlns:a16="http://schemas.microsoft.com/office/drawing/2014/main" id="{53816583-BD6C-A19D-295A-442660147BBA}"/>
              </a:ext>
            </a:extLst>
          </p:cNvPr>
          <p:cNvSpPr/>
          <p:nvPr/>
        </p:nvSpPr>
        <p:spPr>
          <a:xfrm>
            <a:off x="2218976" y="3637280"/>
            <a:ext cx="2386584"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ea typeface="Arial" pitchFamily="34" charset="-122"/>
                <a:cs typeface="Arial" pitchFamily="34" charset="-120"/>
              </a:rPr>
              <a:t>Banen</a:t>
            </a:r>
            <a:endParaRPr lang="en-US" sz="2000" b="1" dirty="0"/>
          </a:p>
        </p:txBody>
      </p:sp>
      <p:sp>
        <p:nvSpPr>
          <p:cNvPr id="27" name="Shape 24">
            <a:extLst>
              <a:ext uri="{FF2B5EF4-FFF2-40B4-BE49-F238E27FC236}">
                <a16:creationId xmlns:a16="http://schemas.microsoft.com/office/drawing/2014/main" id="{464F4AB0-A62C-4DE3-A4C5-12A30C659721}"/>
              </a:ext>
            </a:extLst>
          </p:cNvPr>
          <p:cNvSpPr/>
          <p:nvPr/>
        </p:nvSpPr>
        <p:spPr>
          <a:xfrm>
            <a:off x="4916456" y="3710432"/>
            <a:ext cx="420624" cy="420624"/>
          </a:xfrm>
          <a:prstGeom prst="ellipse">
            <a:avLst/>
          </a:prstGeom>
          <a:solidFill>
            <a:srgbClr val="1A6B3C"/>
          </a:solidFill>
          <a:ln w="12700">
            <a:solidFill>
              <a:srgbClr val="2D9E5A"/>
            </a:solidFill>
            <a:prstDash val="solid"/>
          </a:ln>
        </p:spPr>
        <p:txBody>
          <a:bodyPr/>
          <a:lstStyle/>
          <a:p>
            <a:endParaRPr lang="da-DK"/>
          </a:p>
        </p:txBody>
      </p:sp>
      <p:sp>
        <p:nvSpPr>
          <p:cNvPr id="28" name="Text 25">
            <a:extLst>
              <a:ext uri="{FF2B5EF4-FFF2-40B4-BE49-F238E27FC236}">
                <a16:creationId xmlns:a16="http://schemas.microsoft.com/office/drawing/2014/main" id="{B88AFD91-DD76-CF2F-A462-1D446D845439}"/>
              </a:ext>
            </a:extLst>
          </p:cNvPr>
          <p:cNvSpPr/>
          <p:nvPr/>
        </p:nvSpPr>
        <p:spPr>
          <a:xfrm>
            <a:off x="4916456" y="3710432"/>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2</a:t>
            </a:r>
          </a:p>
        </p:txBody>
      </p:sp>
      <p:sp>
        <p:nvSpPr>
          <p:cNvPr id="29" name="Text 26">
            <a:extLst>
              <a:ext uri="{FF2B5EF4-FFF2-40B4-BE49-F238E27FC236}">
                <a16:creationId xmlns:a16="http://schemas.microsoft.com/office/drawing/2014/main" id="{3FBFC47A-52FE-4F09-B667-890A57F35671}"/>
              </a:ext>
            </a:extLst>
          </p:cNvPr>
          <p:cNvSpPr/>
          <p:nvPr/>
        </p:nvSpPr>
        <p:spPr>
          <a:xfrm>
            <a:off x="5876576" y="3637280"/>
            <a:ext cx="1371600" cy="530352"/>
          </a:xfrm>
          <a:prstGeom prst="rect">
            <a:avLst/>
          </a:prstGeom>
          <a:noFill/>
          <a:ln/>
        </p:spPr>
        <p:txBody>
          <a:bodyPr wrap="square" lIns="0" tIns="0" rIns="0" bIns="0" rtlCol="0" anchor="ctr"/>
          <a:lstStyle/>
          <a:p>
            <a:pPr marL="0" indent="0" algn="ctr">
              <a:buNone/>
            </a:pPr>
            <a:r>
              <a:rPr lang="en-US" sz="2000" b="1">
                <a:solidFill>
                  <a:srgbClr val="2ECC71"/>
                </a:solidFill>
                <a:latin typeface="Arial" pitchFamily="34" charset="0"/>
                <a:ea typeface="Arial" pitchFamily="34" charset="-122"/>
                <a:cs typeface="Arial" pitchFamily="34" charset="-120"/>
              </a:rPr>
              <a:t>+1</a:t>
            </a:r>
            <a:endParaRPr lang="en-US" sz="2000"/>
          </a:p>
        </p:txBody>
      </p:sp>
      <p:sp>
        <p:nvSpPr>
          <p:cNvPr id="30" name="Text 27">
            <a:extLst>
              <a:ext uri="{FF2B5EF4-FFF2-40B4-BE49-F238E27FC236}">
                <a16:creationId xmlns:a16="http://schemas.microsoft.com/office/drawing/2014/main" id="{C27B70C6-791D-E7A8-C332-7FCFB856AB8E}"/>
              </a:ext>
            </a:extLst>
          </p:cNvPr>
          <p:cNvSpPr/>
          <p:nvPr/>
        </p:nvSpPr>
        <p:spPr>
          <a:xfrm>
            <a:off x="7248176" y="3637280"/>
            <a:ext cx="2377440" cy="530352"/>
          </a:xfrm>
          <a:prstGeom prst="rect">
            <a:avLst/>
          </a:prstGeom>
          <a:noFill/>
          <a:ln/>
        </p:spPr>
        <p:txBody>
          <a:bodyPr wrap="square" lIns="0" tIns="0" rIns="0" bIns="0" rtlCol="0" anchor="ctr"/>
          <a:lstStyle/>
          <a:p>
            <a:pPr marL="0" indent="0" algn="ctr">
              <a:buNone/>
            </a:pPr>
            <a:r>
              <a:rPr lang="en-US" sz="2000">
                <a:solidFill>
                  <a:schemeClr val="bg1"/>
                </a:solidFill>
              </a:rPr>
              <a:t>79</a:t>
            </a:r>
          </a:p>
        </p:txBody>
      </p:sp>
      <p:sp>
        <p:nvSpPr>
          <p:cNvPr id="31" name="Shape 28">
            <a:extLst>
              <a:ext uri="{FF2B5EF4-FFF2-40B4-BE49-F238E27FC236}">
                <a16:creationId xmlns:a16="http://schemas.microsoft.com/office/drawing/2014/main" id="{16348B26-856E-FFFF-3DFD-E627DD0B5A7E}"/>
              </a:ext>
            </a:extLst>
          </p:cNvPr>
          <p:cNvSpPr/>
          <p:nvPr/>
        </p:nvSpPr>
        <p:spPr>
          <a:xfrm>
            <a:off x="9945656" y="3728720"/>
            <a:ext cx="731520" cy="384048"/>
          </a:xfrm>
          <a:prstGeom prst="rect">
            <a:avLst/>
          </a:prstGeom>
          <a:solidFill>
            <a:srgbClr val="1A5C35"/>
          </a:solidFill>
          <a:ln w="12700">
            <a:solidFill>
              <a:srgbClr val="2ECC71"/>
            </a:solidFill>
            <a:prstDash val="solid"/>
          </a:ln>
        </p:spPr>
        <p:txBody>
          <a:bodyPr/>
          <a:lstStyle/>
          <a:p>
            <a:endParaRPr lang="da-DK"/>
          </a:p>
        </p:txBody>
      </p:sp>
      <p:sp>
        <p:nvSpPr>
          <p:cNvPr id="32" name="Text 29">
            <a:extLst>
              <a:ext uri="{FF2B5EF4-FFF2-40B4-BE49-F238E27FC236}">
                <a16:creationId xmlns:a16="http://schemas.microsoft.com/office/drawing/2014/main" id="{13691DE0-6211-7167-E3B3-1096CAA4D834}"/>
              </a:ext>
            </a:extLst>
          </p:cNvPr>
          <p:cNvSpPr/>
          <p:nvPr/>
        </p:nvSpPr>
        <p:spPr>
          <a:xfrm>
            <a:off x="9945656" y="3728720"/>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3</a:t>
            </a:r>
            <a:endParaRPr lang="en-US" sz="2000">
              <a:solidFill>
                <a:schemeClr val="bg1"/>
              </a:solidFill>
            </a:endParaRPr>
          </a:p>
        </p:txBody>
      </p:sp>
      <p:sp>
        <p:nvSpPr>
          <p:cNvPr id="33" name="Shape 30">
            <a:extLst>
              <a:ext uri="{FF2B5EF4-FFF2-40B4-BE49-F238E27FC236}">
                <a16:creationId xmlns:a16="http://schemas.microsoft.com/office/drawing/2014/main" id="{0B0C024A-7C46-31B8-1CC9-405662979551}"/>
              </a:ext>
            </a:extLst>
          </p:cNvPr>
          <p:cNvSpPr/>
          <p:nvPr/>
        </p:nvSpPr>
        <p:spPr>
          <a:xfrm>
            <a:off x="2127536" y="4167632"/>
            <a:ext cx="8686800" cy="530352"/>
          </a:xfrm>
          <a:prstGeom prst="rect">
            <a:avLst/>
          </a:prstGeom>
          <a:solidFill>
            <a:srgbClr val="112233"/>
          </a:solidFill>
          <a:ln w="12700">
            <a:solidFill>
              <a:srgbClr val="1E3A5F"/>
            </a:solidFill>
            <a:prstDash val="solid"/>
          </a:ln>
        </p:spPr>
        <p:txBody>
          <a:bodyPr/>
          <a:lstStyle/>
          <a:p>
            <a:endParaRPr lang="da-DK"/>
          </a:p>
        </p:txBody>
      </p:sp>
      <p:sp>
        <p:nvSpPr>
          <p:cNvPr id="34" name="Shape 31">
            <a:extLst>
              <a:ext uri="{FF2B5EF4-FFF2-40B4-BE49-F238E27FC236}">
                <a16:creationId xmlns:a16="http://schemas.microsoft.com/office/drawing/2014/main" id="{1D39B2C9-633C-8782-C2F4-67430851B798}"/>
              </a:ext>
            </a:extLst>
          </p:cNvPr>
          <p:cNvSpPr/>
          <p:nvPr/>
        </p:nvSpPr>
        <p:spPr>
          <a:xfrm>
            <a:off x="2127536" y="4167632"/>
            <a:ext cx="36576" cy="530352"/>
          </a:xfrm>
          <a:prstGeom prst="rect">
            <a:avLst/>
          </a:prstGeom>
          <a:solidFill>
            <a:srgbClr val="1A6B3C"/>
          </a:solidFill>
          <a:ln w="12700">
            <a:solidFill>
              <a:srgbClr val="1A6B3C"/>
            </a:solidFill>
            <a:prstDash val="solid"/>
          </a:ln>
        </p:spPr>
        <p:txBody>
          <a:bodyPr/>
          <a:lstStyle/>
          <a:p>
            <a:endParaRPr lang="da-DK"/>
          </a:p>
        </p:txBody>
      </p:sp>
      <p:sp>
        <p:nvSpPr>
          <p:cNvPr id="35" name="Text 32">
            <a:extLst>
              <a:ext uri="{FF2B5EF4-FFF2-40B4-BE49-F238E27FC236}">
                <a16:creationId xmlns:a16="http://schemas.microsoft.com/office/drawing/2014/main" id="{4637A53E-732E-9CC3-C5F1-7CE8D64D2D81}"/>
              </a:ext>
            </a:extLst>
          </p:cNvPr>
          <p:cNvSpPr/>
          <p:nvPr/>
        </p:nvSpPr>
        <p:spPr>
          <a:xfrm>
            <a:off x="2218976" y="4167632"/>
            <a:ext cx="2286000" cy="530352"/>
          </a:xfrm>
          <a:prstGeom prst="rect">
            <a:avLst/>
          </a:prstGeom>
          <a:noFill/>
          <a:ln/>
        </p:spPr>
        <p:txBody>
          <a:bodyPr wrap="square" lIns="50800" tIns="50800" rIns="50800" bIns="50800" rtlCol="0" anchor="ctr"/>
          <a:lstStyle/>
          <a:p>
            <a:pPr marL="0" indent="0" algn="l">
              <a:buNone/>
            </a:pPr>
            <a:r>
              <a:rPr lang="en-US" sz="2000" b="1" dirty="0">
                <a:solidFill>
                  <a:srgbClr val="DDEEFF"/>
                </a:solidFill>
                <a:latin typeface="Arial" pitchFamily="34" charset="0"/>
                <a:cs typeface="Arial" pitchFamily="34" charset="-120"/>
              </a:rPr>
              <a:t>Priser</a:t>
            </a:r>
            <a:endParaRPr lang="en-US" sz="2000" b="1" dirty="0"/>
          </a:p>
        </p:txBody>
      </p:sp>
      <p:sp>
        <p:nvSpPr>
          <p:cNvPr id="36" name="Shape 33">
            <a:extLst>
              <a:ext uri="{FF2B5EF4-FFF2-40B4-BE49-F238E27FC236}">
                <a16:creationId xmlns:a16="http://schemas.microsoft.com/office/drawing/2014/main" id="{3C6F7BB8-A815-1F63-F842-5D4849061A86}"/>
              </a:ext>
            </a:extLst>
          </p:cNvPr>
          <p:cNvSpPr/>
          <p:nvPr/>
        </p:nvSpPr>
        <p:spPr>
          <a:xfrm>
            <a:off x="4916456" y="4240784"/>
            <a:ext cx="420624" cy="420624"/>
          </a:xfrm>
          <a:prstGeom prst="ellipse">
            <a:avLst/>
          </a:prstGeom>
          <a:solidFill>
            <a:srgbClr val="1A6B3C"/>
          </a:solidFill>
          <a:ln w="12700">
            <a:solidFill>
              <a:srgbClr val="2D9E5A"/>
            </a:solidFill>
            <a:prstDash val="solid"/>
          </a:ln>
        </p:spPr>
        <p:txBody>
          <a:bodyPr/>
          <a:lstStyle/>
          <a:p>
            <a:endParaRPr lang="da-DK"/>
          </a:p>
        </p:txBody>
      </p:sp>
      <p:sp>
        <p:nvSpPr>
          <p:cNvPr id="37" name="Text 34">
            <a:extLst>
              <a:ext uri="{FF2B5EF4-FFF2-40B4-BE49-F238E27FC236}">
                <a16:creationId xmlns:a16="http://schemas.microsoft.com/office/drawing/2014/main" id="{7C0C1C6C-873A-0838-6927-8D9697E00867}"/>
              </a:ext>
            </a:extLst>
          </p:cNvPr>
          <p:cNvSpPr/>
          <p:nvPr/>
        </p:nvSpPr>
        <p:spPr>
          <a:xfrm>
            <a:off x="4916456" y="4240784"/>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0</a:t>
            </a:r>
          </a:p>
        </p:txBody>
      </p:sp>
      <p:sp>
        <p:nvSpPr>
          <p:cNvPr id="38" name="Text 35">
            <a:extLst>
              <a:ext uri="{FF2B5EF4-FFF2-40B4-BE49-F238E27FC236}">
                <a16:creationId xmlns:a16="http://schemas.microsoft.com/office/drawing/2014/main" id="{6DE53C17-CC5D-27FA-E1FE-DE7609DC29A9}"/>
              </a:ext>
            </a:extLst>
          </p:cNvPr>
          <p:cNvSpPr/>
          <p:nvPr/>
        </p:nvSpPr>
        <p:spPr>
          <a:xfrm>
            <a:off x="5876576" y="4167632"/>
            <a:ext cx="1371600" cy="530352"/>
          </a:xfrm>
          <a:prstGeom prst="rect">
            <a:avLst/>
          </a:prstGeom>
          <a:noFill/>
          <a:ln/>
        </p:spPr>
        <p:txBody>
          <a:bodyPr wrap="square" lIns="0" tIns="0" rIns="0" bIns="0" rtlCol="0" anchor="ctr"/>
          <a:lstStyle/>
          <a:p>
            <a:pPr marL="0" indent="0" algn="ctr">
              <a:buNone/>
            </a:pPr>
            <a:r>
              <a:rPr lang="en-US" sz="2000" b="1">
                <a:solidFill>
                  <a:srgbClr val="2ECC71"/>
                </a:solidFill>
                <a:latin typeface="Arial" pitchFamily="34" charset="0"/>
                <a:ea typeface="Arial" pitchFamily="34" charset="-122"/>
                <a:cs typeface="Arial" pitchFamily="34" charset="-120"/>
              </a:rPr>
              <a:t>+1</a:t>
            </a:r>
            <a:endParaRPr lang="en-US" sz="2000"/>
          </a:p>
        </p:txBody>
      </p:sp>
      <p:sp>
        <p:nvSpPr>
          <p:cNvPr id="39" name="Text 36">
            <a:extLst>
              <a:ext uri="{FF2B5EF4-FFF2-40B4-BE49-F238E27FC236}">
                <a16:creationId xmlns:a16="http://schemas.microsoft.com/office/drawing/2014/main" id="{BA21C5B2-3B17-2535-362E-58B0A4006156}"/>
              </a:ext>
            </a:extLst>
          </p:cNvPr>
          <p:cNvSpPr/>
          <p:nvPr/>
        </p:nvSpPr>
        <p:spPr>
          <a:xfrm>
            <a:off x="7248176" y="4167632"/>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77</a:t>
            </a:r>
            <a:endParaRPr lang="en-US" sz="2000">
              <a:solidFill>
                <a:schemeClr val="bg1"/>
              </a:solidFill>
            </a:endParaRPr>
          </a:p>
        </p:txBody>
      </p:sp>
      <p:sp>
        <p:nvSpPr>
          <p:cNvPr id="40" name="Shape 37">
            <a:extLst>
              <a:ext uri="{FF2B5EF4-FFF2-40B4-BE49-F238E27FC236}">
                <a16:creationId xmlns:a16="http://schemas.microsoft.com/office/drawing/2014/main" id="{D65AC222-5B9F-D5AB-75BB-66483E52B535}"/>
              </a:ext>
            </a:extLst>
          </p:cNvPr>
          <p:cNvSpPr/>
          <p:nvPr/>
        </p:nvSpPr>
        <p:spPr>
          <a:xfrm>
            <a:off x="9945656" y="4259072"/>
            <a:ext cx="731520" cy="384048"/>
          </a:xfrm>
          <a:prstGeom prst="rect">
            <a:avLst/>
          </a:prstGeom>
          <a:solidFill>
            <a:srgbClr val="1A5C35"/>
          </a:solidFill>
          <a:ln w="12700">
            <a:solidFill>
              <a:srgbClr val="2ECC71"/>
            </a:solidFill>
            <a:prstDash val="solid"/>
          </a:ln>
        </p:spPr>
        <p:txBody>
          <a:bodyPr/>
          <a:lstStyle/>
          <a:p>
            <a:endParaRPr lang="da-DK"/>
          </a:p>
        </p:txBody>
      </p:sp>
      <p:sp>
        <p:nvSpPr>
          <p:cNvPr id="41" name="Text 38">
            <a:extLst>
              <a:ext uri="{FF2B5EF4-FFF2-40B4-BE49-F238E27FC236}">
                <a16:creationId xmlns:a16="http://schemas.microsoft.com/office/drawing/2014/main" id="{04140A4E-43D8-32E9-DB2F-1CEE124B4E1F}"/>
              </a:ext>
            </a:extLst>
          </p:cNvPr>
          <p:cNvSpPr/>
          <p:nvPr/>
        </p:nvSpPr>
        <p:spPr>
          <a:xfrm>
            <a:off x="9945656" y="4259072"/>
            <a:ext cx="731520" cy="384048"/>
          </a:xfrm>
          <a:prstGeom prst="rect">
            <a:avLst/>
          </a:prstGeom>
          <a:noFill/>
          <a:ln/>
        </p:spPr>
        <p:txBody>
          <a:bodyPr wrap="square" lIns="0" tIns="0" rIns="0" bIns="0" rtlCol="0" anchor="ctr"/>
          <a:lstStyle/>
          <a:p>
            <a:pPr algn="ctr"/>
            <a:r>
              <a:rPr lang="en-US" sz="2000" b="1">
                <a:solidFill>
                  <a:schemeClr val="bg1"/>
                </a:solidFill>
                <a:latin typeface="Arial" pitchFamily="34" charset="0"/>
                <a:cs typeface="Arial" pitchFamily="34" charset="-120"/>
              </a:rPr>
              <a:t>+3</a:t>
            </a:r>
          </a:p>
        </p:txBody>
      </p:sp>
      <p:sp>
        <p:nvSpPr>
          <p:cNvPr id="42" name="Shape 39">
            <a:extLst>
              <a:ext uri="{FF2B5EF4-FFF2-40B4-BE49-F238E27FC236}">
                <a16:creationId xmlns:a16="http://schemas.microsoft.com/office/drawing/2014/main" id="{D309810F-CDCA-5DAF-7CD2-EB55D051579F}"/>
              </a:ext>
            </a:extLst>
          </p:cNvPr>
          <p:cNvSpPr/>
          <p:nvPr/>
        </p:nvSpPr>
        <p:spPr>
          <a:xfrm>
            <a:off x="2127536" y="4697984"/>
            <a:ext cx="8686800" cy="530352"/>
          </a:xfrm>
          <a:prstGeom prst="rect">
            <a:avLst/>
          </a:prstGeom>
          <a:solidFill>
            <a:srgbClr val="0D1B2A"/>
          </a:solidFill>
          <a:ln w="12700">
            <a:solidFill>
              <a:srgbClr val="1E3A5F"/>
            </a:solidFill>
            <a:prstDash val="solid"/>
          </a:ln>
        </p:spPr>
        <p:txBody>
          <a:bodyPr/>
          <a:lstStyle/>
          <a:p>
            <a:endParaRPr lang="da-DK"/>
          </a:p>
        </p:txBody>
      </p:sp>
      <p:sp>
        <p:nvSpPr>
          <p:cNvPr id="43" name="Shape 40">
            <a:extLst>
              <a:ext uri="{FF2B5EF4-FFF2-40B4-BE49-F238E27FC236}">
                <a16:creationId xmlns:a16="http://schemas.microsoft.com/office/drawing/2014/main" id="{3E389484-96AD-B355-8DA9-5AA40D7B5673}"/>
              </a:ext>
            </a:extLst>
          </p:cNvPr>
          <p:cNvSpPr/>
          <p:nvPr/>
        </p:nvSpPr>
        <p:spPr>
          <a:xfrm>
            <a:off x="2127536" y="4697984"/>
            <a:ext cx="36576" cy="530352"/>
          </a:xfrm>
          <a:prstGeom prst="rect">
            <a:avLst/>
          </a:prstGeom>
          <a:solidFill>
            <a:srgbClr val="1A6B3C"/>
          </a:solidFill>
          <a:ln w="12700">
            <a:solidFill>
              <a:srgbClr val="1A6B3C"/>
            </a:solidFill>
            <a:prstDash val="solid"/>
          </a:ln>
        </p:spPr>
        <p:txBody>
          <a:bodyPr/>
          <a:lstStyle/>
          <a:p>
            <a:endParaRPr lang="da-DK"/>
          </a:p>
        </p:txBody>
      </p:sp>
      <p:sp>
        <p:nvSpPr>
          <p:cNvPr id="44" name="Text 41">
            <a:extLst>
              <a:ext uri="{FF2B5EF4-FFF2-40B4-BE49-F238E27FC236}">
                <a16:creationId xmlns:a16="http://schemas.microsoft.com/office/drawing/2014/main" id="{44D0210D-5F81-E692-AEF3-49A470B91757}"/>
              </a:ext>
            </a:extLst>
          </p:cNvPr>
          <p:cNvSpPr/>
          <p:nvPr/>
        </p:nvSpPr>
        <p:spPr>
          <a:xfrm>
            <a:off x="2218976" y="4697984"/>
            <a:ext cx="2286000" cy="530352"/>
          </a:xfrm>
          <a:prstGeom prst="rect">
            <a:avLst/>
          </a:prstGeom>
          <a:noFill/>
          <a:ln/>
        </p:spPr>
        <p:txBody>
          <a:bodyPr wrap="square" lIns="50800" tIns="50800" rIns="50800" bIns="50800" rtlCol="0" anchor="ctr"/>
          <a:lstStyle/>
          <a:p>
            <a:pPr marL="0" indent="0" algn="l">
              <a:buNone/>
            </a:pPr>
            <a:r>
              <a:rPr lang="en-US" sz="2000" b="1" dirty="0" err="1">
                <a:solidFill>
                  <a:srgbClr val="DDEEFF"/>
                </a:solidFill>
                <a:latin typeface="Arial" pitchFamily="34" charset="0"/>
                <a:ea typeface="Arial" pitchFamily="34" charset="-122"/>
                <a:cs typeface="Arial" pitchFamily="34" charset="-120"/>
              </a:rPr>
              <a:t>Atmosfære</a:t>
            </a:r>
            <a:endParaRPr lang="en-US" sz="2000" b="1" dirty="0"/>
          </a:p>
        </p:txBody>
      </p:sp>
      <p:sp>
        <p:nvSpPr>
          <p:cNvPr id="45" name="Shape 42">
            <a:extLst>
              <a:ext uri="{FF2B5EF4-FFF2-40B4-BE49-F238E27FC236}">
                <a16:creationId xmlns:a16="http://schemas.microsoft.com/office/drawing/2014/main" id="{85C218AF-8DC8-6333-0EB4-C56CCCC4E719}"/>
              </a:ext>
            </a:extLst>
          </p:cNvPr>
          <p:cNvSpPr/>
          <p:nvPr/>
        </p:nvSpPr>
        <p:spPr>
          <a:xfrm>
            <a:off x="4916456" y="4771136"/>
            <a:ext cx="420624" cy="420624"/>
          </a:xfrm>
          <a:prstGeom prst="ellipse">
            <a:avLst/>
          </a:prstGeom>
          <a:solidFill>
            <a:srgbClr val="1A6B3C"/>
          </a:solidFill>
          <a:ln w="12700">
            <a:solidFill>
              <a:srgbClr val="2D9E5A"/>
            </a:solidFill>
            <a:prstDash val="solid"/>
          </a:ln>
        </p:spPr>
        <p:txBody>
          <a:bodyPr/>
          <a:lstStyle/>
          <a:p>
            <a:endParaRPr lang="da-DK"/>
          </a:p>
        </p:txBody>
      </p:sp>
      <p:sp>
        <p:nvSpPr>
          <p:cNvPr id="46" name="Text 43">
            <a:extLst>
              <a:ext uri="{FF2B5EF4-FFF2-40B4-BE49-F238E27FC236}">
                <a16:creationId xmlns:a16="http://schemas.microsoft.com/office/drawing/2014/main" id="{EB56CC7D-23FE-9777-6206-8A29BDC9DB5D}"/>
              </a:ext>
            </a:extLst>
          </p:cNvPr>
          <p:cNvSpPr/>
          <p:nvPr/>
        </p:nvSpPr>
        <p:spPr>
          <a:xfrm>
            <a:off x="4916456" y="4771136"/>
            <a:ext cx="420624" cy="420624"/>
          </a:xfrm>
          <a:prstGeom prst="rect">
            <a:avLst/>
          </a:prstGeom>
          <a:noFill/>
          <a:ln/>
        </p:spPr>
        <p:txBody>
          <a:bodyPr wrap="square" lIns="0" tIns="0" rIns="0" bIns="0" rtlCol="0" anchor="ctr"/>
          <a:lstStyle/>
          <a:p>
            <a:pPr algn="ctr"/>
            <a:r>
              <a:rPr lang="en-US" sz="2000" b="1">
                <a:solidFill>
                  <a:srgbClr val="FFFFFF"/>
                </a:solidFill>
                <a:latin typeface="Arial" pitchFamily="34" charset="0"/>
                <a:cs typeface="Arial" pitchFamily="34" charset="-120"/>
              </a:rPr>
              <a:t>88</a:t>
            </a:r>
          </a:p>
        </p:txBody>
      </p:sp>
      <p:sp>
        <p:nvSpPr>
          <p:cNvPr id="47" name="Text 44">
            <a:extLst>
              <a:ext uri="{FF2B5EF4-FFF2-40B4-BE49-F238E27FC236}">
                <a16:creationId xmlns:a16="http://schemas.microsoft.com/office/drawing/2014/main" id="{EAABBEE8-1F2C-42F9-B4D9-6FECF9CA367B}"/>
              </a:ext>
            </a:extLst>
          </p:cNvPr>
          <p:cNvSpPr/>
          <p:nvPr/>
        </p:nvSpPr>
        <p:spPr>
          <a:xfrm>
            <a:off x="5876576" y="4697984"/>
            <a:ext cx="1371600" cy="530352"/>
          </a:xfrm>
          <a:prstGeom prst="rect">
            <a:avLst/>
          </a:prstGeom>
          <a:noFill/>
          <a:ln/>
        </p:spPr>
        <p:txBody>
          <a:bodyPr wrap="square" lIns="0" tIns="0" rIns="0" bIns="0" rtlCol="0" anchor="ctr"/>
          <a:lstStyle/>
          <a:p>
            <a:pPr marL="0" indent="0" algn="ctr">
              <a:buNone/>
            </a:pPr>
            <a:r>
              <a:rPr lang="en-US" sz="2000">
                <a:solidFill>
                  <a:schemeClr val="accent6">
                    <a:lumMod val="60000"/>
                    <a:lumOff val="40000"/>
                  </a:schemeClr>
                </a:solidFill>
                <a:latin typeface="Arial" pitchFamily="34" charset="0"/>
                <a:cs typeface="Arial" pitchFamily="34" charset="-120"/>
              </a:rPr>
              <a:t>-</a:t>
            </a:r>
            <a:endParaRPr lang="en-US" sz="2000">
              <a:solidFill>
                <a:schemeClr val="accent6">
                  <a:lumMod val="60000"/>
                  <a:lumOff val="40000"/>
                </a:schemeClr>
              </a:solidFill>
            </a:endParaRPr>
          </a:p>
        </p:txBody>
      </p:sp>
      <p:sp>
        <p:nvSpPr>
          <p:cNvPr id="48" name="Text 45">
            <a:extLst>
              <a:ext uri="{FF2B5EF4-FFF2-40B4-BE49-F238E27FC236}">
                <a16:creationId xmlns:a16="http://schemas.microsoft.com/office/drawing/2014/main" id="{2952161A-1062-0D10-C649-4CF00888F51F}"/>
              </a:ext>
            </a:extLst>
          </p:cNvPr>
          <p:cNvSpPr/>
          <p:nvPr/>
        </p:nvSpPr>
        <p:spPr>
          <a:xfrm>
            <a:off x="7248176" y="4697984"/>
            <a:ext cx="2377440" cy="530352"/>
          </a:xfrm>
          <a:prstGeom prst="rect">
            <a:avLst/>
          </a:prstGeom>
          <a:noFill/>
          <a:ln/>
        </p:spPr>
        <p:txBody>
          <a:bodyPr wrap="square" lIns="0" tIns="0" rIns="0" bIns="0" rtlCol="0" anchor="ctr"/>
          <a:lstStyle/>
          <a:p>
            <a:pPr marL="0" indent="0" algn="ctr">
              <a:buNone/>
            </a:pPr>
            <a:r>
              <a:rPr lang="en-US" sz="2000">
                <a:solidFill>
                  <a:schemeClr val="bg1"/>
                </a:solidFill>
                <a:latin typeface="Arial" pitchFamily="34" charset="0"/>
                <a:cs typeface="Arial" pitchFamily="34" charset="-120"/>
              </a:rPr>
              <a:t>86</a:t>
            </a:r>
            <a:endParaRPr lang="en-US" sz="2000">
              <a:solidFill>
                <a:schemeClr val="bg1"/>
              </a:solidFill>
            </a:endParaRPr>
          </a:p>
        </p:txBody>
      </p:sp>
      <p:sp>
        <p:nvSpPr>
          <p:cNvPr id="49" name="Shape 46">
            <a:extLst>
              <a:ext uri="{FF2B5EF4-FFF2-40B4-BE49-F238E27FC236}">
                <a16:creationId xmlns:a16="http://schemas.microsoft.com/office/drawing/2014/main" id="{9F240448-4737-1008-D65B-76D782EE570C}"/>
              </a:ext>
            </a:extLst>
          </p:cNvPr>
          <p:cNvSpPr/>
          <p:nvPr/>
        </p:nvSpPr>
        <p:spPr>
          <a:xfrm>
            <a:off x="9945656" y="4789424"/>
            <a:ext cx="731520" cy="384048"/>
          </a:xfrm>
          <a:prstGeom prst="rect">
            <a:avLst/>
          </a:prstGeom>
          <a:solidFill>
            <a:srgbClr val="1A5C35"/>
          </a:solidFill>
          <a:ln w="12700">
            <a:solidFill>
              <a:srgbClr val="2ECC71"/>
            </a:solidFill>
            <a:prstDash val="solid"/>
          </a:ln>
        </p:spPr>
        <p:txBody>
          <a:bodyPr/>
          <a:lstStyle/>
          <a:p>
            <a:endParaRPr lang="da-DK"/>
          </a:p>
        </p:txBody>
      </p:sp>
      <p:sp>
        <p:nvSpPr>
          <p:cNvPr id="50" name="Text 47">
            <a:extLst>
              <a:ext uri="{FF2B5EF4-FFF2-40B4-BE49-F238E27FC236}">
                <a16:creationId xmlns:a16="http://schemas.microsoft.com/office/drawing/2014/main" id="{7B7E39F6-32B2-78F4-63A2-F4C60DC84CD9}"/>
              </a:ext>
            </a:extLst>
          </p:cNvPr>
          <p:cNvSpPr/>
          <p:nvPr/>
        </p:nvSpPr>
        <p:spPr>
          <a:xfrm>
            <a:off x="9945656" y="4789424"/>
            <a:ext cx="731520" cy="384048"/>
          </a:xfrm>
          <a:prstGeom prst="rect">
            <a:avLst/>
          </a:prstGeom>
          <a:noFill/>
          <a:ln/>
        </p:spPr>
        <p:txBody>
          <a:bodyPr wrap="square" lIns="0" tIns="0" rIns="0" bIns="0" rtlCol="0" anchor="ctr"/>
          <a:lstStyle/>
          <a:p>
            <a:pPr marL="0" indent="0" algn="ctr">
              <a:buNone/>
            </a:pPr>
            <a:r>
              <a:rPr lang="en-US" sz="2000" b="1">
                <a:solidFill>
                  <a:schemeClr val="bg1"/>
                </a:solidFill>
                <a:latin typeface="Arial" pitchFamily="34" charset="0"/>
                <a:ea typeface="Arial" pitchFamily="34" charset="-122"/>
                <a:cs typeface="Arial" pitchFamily="34" charset="-120"/>
              </a:rPr>
              <a:t>+2</a:t>
            </a:r>
            <a:endParaRPr lang="en-US" sz="2000" b="1">
              <a:solidFill>
                <a:schemeClr val="bg1"/>
              </a:solidFill>
              <a:latin typeface="Arial" pitchFamily="34" charset="0"/>
              <a:cs typeface="Arial" pitchFamily="34" charset="-120"/>
            </a:endParaRPr>
          </a:p>
        </p:txBody>
      </p:sp>
      <p:sp>
        <p:nvSpPr>
          <p:cNvPr id="6" name="Tekstfelt 5">
            <a:extLst>
              <a:ext uri="{FF2B5EF4-FFF2-40B4-BE49-F238E27FC236}">
                <a16:creationId xmlns:a16="http://schemas.microsoft.com/office/drawing/2014/main" id="{1FF47213-0D55-C2BA-C711-1479E2D2EE02}"/>
              </a:ext>
            </a:extLst>
          </p:cNvPr>
          <p:cNvSpPr txBox="1"/>
          <p:nvPr/>
        </p:nvSpPr>
        <p:spPr>
          <a:xfrm>
            <a:off x="2400300" y="6286500"/>
            <a:ext cx="6318268" cy="461665"/>
          </a:xfrm>
          <a:prstGeom prst="rect">
            <a:avLst/>
          </a:prstGeom>
          <a:noFill/>
        </p:spPr>
        <p:txBody>
          <a:bodyPr wrap="none" rtlCol="0">
            <a:spAutoFit/>
          </a:bodyPr>
          <a:lstStyle/>
          <a:p>
            <a:r>
              <a:rPr lang="da-DK" sz="2400" b="1" i="1"/>
              <a:t>* hvor sandsynligt er det, at du anbefaler HGK?</a:t>
            </a:r>
          </a:p>
        </p:txBody>
      </p:sp>
    </p:spTree>
    <p:extLst>
      <p:ext uri="{BB962C8B-B14F-4D97-AF65-F5344CB8AC3E}">
        <p14:creationId xmlns:p14="http://schemas.microsoft.com/office/powerpoint/2010/main" val="179230049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A2A46-ADB7-99D8-C850-31474BB004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98A025-5BA2-09FD-FD38-A038D467EC23}"/>
              </a:ext>
            </a:extLst>
          </p:cNvPr>
          <p:cNvSpPr>
            <a:spLocks noGrp="1"/>
          </p:cNvSpPr>
          <p:nvPr>
            <p:ph type="title"/>
          </p:nvPr>
        </p:nvSpPr>
        <p:spPr>
          <a:xfrm>
            <a:off x="1589896" y="197032"/>
            <a:ext cx="7566803" cy="1338696"/>
          </a:xfrm>
        </p:spPr>
        <p:txBody>
          <a:bodyPr vert="horz" lIns="91440" tIns="45720" rIns="91440" bIns="45720" rtlCol="0" anchor="ctr">
            <a:normAutofit fontScale="90000"/>
          </a:bodyPr>
          <a:lstStyle/>
          <a:p>
            <a:r>
              <a:rPr lang="en-US" sz="6600" b="1"/>
              <a:t>ØGR </a:t>
            </a:r>
            <a:br>
              <a:rPr lang="en-US" sz="6600" b="1"/>
            </a:br>
            <a:r>
              <a:rPr lang="en-US" sz="6600" b="1"/>
              <a:t>ANTAL SOLGTE KORT</a:t>
            </a:r>
          </a:p>
        </p:txBody>
      </p:sp>
      <p:pic>
        <p:nvPicPr>
          <p:cNvPr id="5" name="Pladsholder til indhold 4">
            <a:extLst>
              <a:ext uri="{FF2B5EF4-FFF2-40B4-BE49-F238E27FC236}">
                <a16:creationId xmlns:a16="http://schemas.microsoft.com/office/drawing/2014/main" id="{B807E6EE-6E25-AAE4-7E22-8947C819A7F3}"/>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5E6D4A4E-1408-82B7-D35E-781D7E55A2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15" name="Rektangel: afrundede hjørner 14">
            <a:extLst>
              <a:ext uri="{FF2B5EF4-FFF2-40B4-BE49-F238E27FC236}">
                <a16:creationId xmlns:a16="http://schemas.microsoft.com/office/drawing/2014/main" id="{1184B777-A923-62B3-70AA-FB772BD2E6F9}"/>
              </a:ext>
            </a:extLst>
          </p:cNvPr>
          <p:cNvSpPr/>
          <p:nvPr/>
        </p:nvSpPr>
        <p:spPr>
          <a:xfrm>
            <a:off x="10337800" y="2639842"/>
            <a:ext cx="1555463" cy="1244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000"/>
              <a:t>HGK 15 % af antal solgte kort </a:t>
            </a:r>
          </a:p>
        </p:txBody>
      </p:sp>
      <p:sp>
        <p:nvSpPr>
          <p:cNvPr id="18" name="Rektangel: afrundede hjørner 17">
            <a:extLst>
              <a:ext uri="{FF2B5EF4-FFF2-40B4-BE49-F238E27FC236}">
                <a16:creationId xmlns:a16="http://schemas.microsoft.com/office/drawing/2014/main" id="{F06A71B3-C29B-62BD-D16E-91A3AC4EB718}"/>
              </a:ext>
            </a:extLst>
          </p:cNvPr>
          <p:cNvSpPr/>
          <p:nvPr/>
        </p:nvSpPr>
        <p:spPr>
          <a:xfrm>
            <a:off x="10337800" y="4180059"/>
            <a:ext cx="1555463" cy="1244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000"/>
              <a:t>Total 2027 solgte kort </a:t>
            </a:r>
          </a:p>
        </p:txBody>
      </p:sp>
      <p:pic>
        <p:nvPicPr>
          <p:cNvPr id="19" name="Billede 18">
            <a:extLst>
              <a:ext uri="{FF2B5EF4-FFF2-40B4-BE49-F238E27FC236}">
                <a16:creationId xmlns:a16="http://schemas.microsoft.com/office/drawing/2014/main" id="{E68A3117-B48A-9189-A670-1B6EE8FF099C}"/>
              </a:ext>
            </a:extLst>
          </p:cNvPr>
          <p:cNvPicPr>
            <a:picLocks noChangeAspect="1"/>
          </p:cNvPicPr>
          <p:nvPr/>
        </p:nvPicPr>
        <p:blipFill>
          <a:blip r:embed="rId5"/>
          <a:stretch>
            <a:fillRect/>
          </a:stretch>
        </p:blipFill>
        <p:spPr>
          <a:xfrm>
            <a:off x="1691497" y="1725442"/>
            <a:ext cx="8290704" cy="4978837"/>
          </a:xfrm>
          <a:prstGeom prst="rect">
            <a:avLst/>
          </a:prstGeom>
        </p:spPr>
      </p:pic>
      <p:sp>
        <p:nvSpPr>
          <p:cNvPr id="20" name="Tekstfelt 19">
            <a:extLst>
              <a:ext uri="{FF2B5EF4-FFF2-40B4-BE49-F238E27FC236}">
                <a16:creationId xmlns:a16="http://schemas.microsoft.com/office/drawing/2014/main" id="{6072116E-29FA-280F-04E4-9E9D29DC04D4}"/>
              </a:ext>
            </a:extLst>
          </p:cNvPr>
          <p:cNvSpPr txBox="1"/>
          <p:nvPr/>
        </p:nvSpPr>
        <p:spPr>
          <a:xfrm>
            <a:off x="10789159" y="2199403"/>
            <a:ext cx="652743" cy="369332"/>
          </a:xfrm>
          <a:prstGeom prst="rect">
            <a:avLst/>
          </a:prstGeom>
          <a:noFill/>
        </p:spPr>
        <p:txBody>
          <a:bodyPr wrap="none" rtlCol="0">
            <a:spAutoFit/>
          </a:bodyPr>
          <a:lstStyle/>
          <a:p>
            <a:r>
              <a:rPr lang="da-DK"/>
              <a:t>2025</a:t>
            </a:r>
          </a:p>
        </p:txBody>
      </p:sp>
    </p:spTree>
    <p:extLst>
      <p:ext uri="{BB962C8B-B14F-4D97-AF65-F5344CB8AC3E}">
        <p14:creationId xmlns:p14="http://schemas.microsoft.com/office/powerpoint/2010/main" val="6958146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601C0-A8D3-72BD-A50E-00252399156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F1AD176-044F-68EA-C73F-C9C6DFDADA9A}"/>
              </a:ext>
            </a:extLst>
          </p:cNvPr>
          <p:cNvSpPr>
            <a:spLocks noGrp="1"/>
          </p:cNvSpPr>
          <p:nvPr>
            <p:ph type="title"/>
          </p:nvPr>
        </p:nvSpPr>
        <p:spPr>
          <a:xfrm>
            <a:off x="1589896" y="197032"/>
            <a:ext cx="9001903" cy="1338696"/>
          </a:xfrm>
        </p:spPr>
        <p:txBody>
          <a:bodyPr vert="horz" lIns="91440" tIns="45720" rIns="91440" bIns="45720" rtlCol="0" anchor="ctr">
            <a:normAutofit fontScale="90000"/>
          </a:bodyPr>
          <a:lstStyle/>
          <a:p>
            <a:r>
              <a:rPr lang="en-US" sz="6600" b="1"/>
              <a:t>ØGR</a:t>
            </a:r>
            <a:br>
              <a:rPr lang="en-US" sz="6600" b="1"/>
            </a:br>
            <a:r>
              <a:rPr lang="en-US" sz="6600" b="1" i="1"/>
              <a:t>ANTAL SPILLEDE RUNDER</a:t>
            </a:r>
          </a:p>
        </p:txBody>
      </p:sp>
      <p:pic>
        <p:nvPicPr>
          <p:cNvPr id="5" name="Pladsholder til indhold 4">
            <a:extLst>
              <a:ext uri="{FF2B5EF4-FFF2-40B4-BE49-F238E27FC236}">
                <a16:creationId xmlns:a16="http://schemas.microsoft.com/office/drawing/2014/main" id="{DA55986A-AA03-70F6-318B-532057317FED}"/>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52E02FE0-A998-02A3-297E-02E9755007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6" name="Rektangel: afrundede hjørner 5">
            <a:extLst>
              <a:ext uri="{FF2B5EF4-FFF2-40B4-BE49-F238E27FC236}">
                <a16:creationId xmlns:a16="http://schemas.microsoft.com/office/drawing/2014/main" id="{ED9D7FC9-4F1D-4F1E-D598-0C505E20ED94}"/>
              </a:ext>
            </a:extLst>
          </p:cNvPr>
          <p:cNvSpPr/>
          <p:nvPr/>
        </p:nvSpPr>
        <p:spPr>
          <a:xfrm>
            <a:off x="10337800" y="1979442"/>
            <a:ext cx="1555463" cy="1244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000"/>
              <a:t>HGK 15 % af antal solgte kort </a:t>
            </a:r>
          </a:p>
        </p:txBody>
      </p:sp>
      <p:sp>
        <p:nvSpPr>
          <p:cNvPr id="9" name="Rektangel: afrundede hjørner 8">
            <a:extLst>
              <a:ext uri="{FF2B5EF4-FFF2-40B4-BE49-F238E27FC236}">
                <a16:creationId xmlns:a16="http://schemas.microsoft.com/office/drawing/2014/main" id="{22427663-0FC2-3EFB-4679-3EFC9B6601CF}"/>
              </a:ext>
            </a:extLst>
          </p:cNvPr>
          <p:cNvSpPr/>
          <p:nvPr/>
        </p:nvSpPr>
        <p:spPr>
          <a:xfrm>
            <a:off x="10337800" y="3519658"/>
            <a:ext cx="1555463" cy="144604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000"/>
              <a:t>HGK 13 % af antal spillede runder</a:t>
            </a:r>
          </a:p>
        </p:txBody>
      </p:sp>
      <p:pic>
        <p:nvPicPr>
          <p:cNvPr id="10" name="Billede 9">
            <a:extLst>
              <a:ext uri="{FF2B5EF4-FFF2-40B4-BE49-F238E27FC236}">
                <a16:creationId xmlns:a16="http://schemas.microsoft.com/office/drawing/2014/main" id="{9EC1EF2A-867B-E5FA-AEE1-75BAE7C50B8E}"/>
              </a:ext>
            </a:extLst>
          </p:cNvPr>
          <p:cNvPicPr>
            <a:picLocks noChangeAspect="1"/>
          </p:cNvPicPr>
          <p:nvPr/>
        </p:nvPicPr>
        <p:blipFill>
          <a:blip r:embed="rId5"/>
          <a:stretch>
            <a:fillRect/>
          </a:stretch>
        </p:blipFill>
        <p:spPr>
          <a:xfrm>
            <a:off x="1742296" y="1808677"/>
            <a:ext cx="8062104" cy="4852291"/>
          </a:xfrm>
          <a:prstGeom prst="rect">
            <a:avLst/>
          </a:prstGeom>
        </p:spPr>
      </p:pic>
      <p:sp>
        <p:nvSpPr>
          <p:cNvPr id="12" name="Tekstfelt 11">
            <a:extLst>
              <a:ext uri="{FF2B5EF4-FFF2-40B4-BE49-F238E27FC236}">
                <a16:creationId xmlns:a16="http://schemas.microsoft.com/office/drawing/2014/main" id="{51CECD2E-B9BB-D8FC-5E30-6174F455FE49}"/>
              </a:ext>
            </a:extLst>
          </p:cNvPr>
          <p:cNvSpPr txBox="1"/>
          <p:nvPr/>
        </p:nvSpPr>
        <p:spPr>
          <a:xfrm>
            <a:off x="10814336" y="1540776"/>
            <a:ext cx="652743" cy="369332"/>
          </a:xfrm>
          <a:prstGeom prst="rect">
            <a:avLst/>
          </a:prstGeom>
          <a:noFill/>
        </p:spPr>
        <p:txBody>
          <a:bodyPr wrap="none" rtlCol="0">
            <a:spAutoFit/>
          </a:bodyPr>
          <a:lstStyle/>
          <a:p>
            <a:r>
              <a:rPr lang="da-DK"/>
              <a:t>2025</a:t>
            </a:r>
          </a:p>
        </p:txBody>
      </p:sp>
    </p:spTree>
    <p:extLst>
      <p:ext uri="{BB962C8B-B14F-4D97-AF65-F5344CB8AC3E}">
        <p14:creationId xmlns:p14="http://schemas.microsoft.com/office/powerpoint/2010/main" val="242354172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4BD93-46F8-C2B2-B4D1-D7F2B768BC0D}"/>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FE97CF8F-28B1-5B80-0375-813637F8C817}"/>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18367" t="7781" b="28345"/>
          <a:stretch>
            <a:fillRect/>
          </a:stretch>
        </p:blipFill>
        <p:spPr>
          <a:xfrm>
            <a:off x="0" y="0"/>
            <a:ext cx="6676571"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Titel 1">
            <a:extLst>
              <a:ext uri="{FF2B5EF4-FFF2-40B4-BE49-F238E27FC236}">
                <a16:creationId xmlns:a16="http://schemas.microsoft.com/office/drawing/2014/main" id="{50540DF0-4550-A58C-792D-BBE8CC8779DB}"/>
              </a:ext>
            </a:extLst>
          </p:cNvPr>
          <p:cNvSpPr>
            <a:spLocks noGrp="1"/>
          </p:cNvSpPr>
          <p:nvPr>
            <p:ph type="title"/>
          </p:nvPr>
        </p:nvSpPr>
        <p:spPr>
          <a:xfrm>
            <a:off x="8049759" y="2673532"/>
            <a:ext cx="8505825" cy="1338696"/>
          </a:xfrm>
        </p:spPr>
        <p:txBody>
          <a:bodyPr vert="horz" lIns="91440" tIns="45720" rIns="91440" bIns="45720" rtlCol="0" anchor="ctr">
            <a:normAutofit fontScale="90000"/>
          </a:bodyPr>
          <a:lstStyle/>
          <a:p>
            <a:r>
              <a:rPr lang="en-US" sz="7300" b="1" dirty="0"/>
              <a:t>PRO</a:t>
            </a:r>
            <a:br>
              <a:rPr lang="en-US" sz="7300" b="1" dirty="0"/>
            </a:br>
            <a:br>
              <a:rPr lang="en-US" sz="7300" b="1" dirty="0"/>
            </a:br>
            <a:endParaRPr lang="en-US" sz="6600" b="1" dirty="0"/>
          </a:p>
        </p:txBody>
      </p:sp>
      <p:pic>
        <p:nvPicPr>
          <p:cNvPr id="3" name="Billede 2" descr="Et billede, der indeholder tekst, Grafik, logo, grafisk design">
            <a:extLst>
              <a:ext uri="{FF2B5EF4-FFF2-40B4-BE49-F238E27FC236}">
                <a16:creationId xmlns:a16="http://schemas.microsoft.com/office/drawing/2014/main" id="{7920BBB6-298C-0982-76EE-B05D62E542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6" name="Tekstfelt 5">
            <a:extLst>
              <a:ext uri="{FF2B5EF4-FFF2-40B4-BE49-F238E27FC236}">
                <a16:creationId xmlns:a16="http://schemas.microsoft.com/office/drawing/2014/main" id="{C93E8C63-D17F-4F46-3439-31C28FBF9DC8}"/>
              </a:ext>
            </a:extLst>
          </p:cNvPr>
          <p:cNvSpPr txBox="1"/>
          <p:nvPr/>
        </p:nvSpPr>
        <p:spPr>
          <a:xfrm rot="747897">
            <a:off x="6718506" y="4794710"/>
            <a:ext cx="8278584" cy="1292662"/>
          </a:xfrm>
          <a:prstGeom prst="rect">
            <a:avLst/>
          </a:prstGeom>
          <a:noFill/>
        </p:spPr>
        <p:txBody>
          <a:bodyPr wrap="square">
            <a:spAutoFit/>
          </a:bodyPr>
          <a:lstStyle/>
          <a:p>
            <a:r>
              <a:rPr lang="da-DK" sz="4800" dirty="0"/>
              <a:t>⭐ </a:t>
            </a:r>
            <a:r>
              <a:rPr lang="da-DK" sz="6000" dirty="0"/>
              <a:t>År efter år…</a:t>
            </a:r>
            <a:br>
              <a:rPr lang="en-US" sz="2400" b="1" dirty="0"/>
            </a:br>
            <a:endParaRPr lang="da-DK" dirty="0"/>
          </a:p>
        </p:txBody>
      </p:sp>
    </p:spTree>
    <p:extLst>
      <p:ext uri="{BB962C8B-B14F-4D97-AF65-F5344CB8AC3E}">
        <p14:creationId xmlns:p14="http://schemas.microsoft.com/office/powerpoint/2010/main" val="2504770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8A226-D754-EC2A-34FF-2FE056CDDA58}"/>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F53EE797-44E9-8A72-BF96-2664F96A50B1}"/>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2498" r="23266"/>
          <a:stretch>
            <a:fillRect/>
          </a:stretch>
        </p:blipFill>
        <p:spPr>
          <a:xfrm>
            <a:off x="0" y="0"/>
            <a:ext cx="8178800"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Titel 1">
            <a:extLst>
              <a:ext uri="{FF2B5EF4-FFF2-40B4-BE49-F238E27FC236}">
                <a16:creationId xmlns:a16="http://schemas.microsoft.com/office/drawing/2014/main" id="{444ECD64-069D-73CF-5836-26645AAFC6A6}"/>
              </a:ext>
            </a:extLst>
          </p:cNvPr>
          <p:cNvSpPr>
            <a:spLocks noGrp="1"/>
          </p:cNvSpPr>
          <p:nvPr>
            <p:ph type="title"/>
          </p:nvPr>
        </p:nvSpPr>
        <p:spPr>
          <a:xfrm>
            <a:off x="7939087" y="4426132"/>
            <a:ext cx="8505825" cy="1338696"/>
          </a:xfrm>
        </p:spPr>
        <p:txBody>
          <a:bodyPr vert="horz" lIns="91440" tIns="45720" rIns="91440" bIns="45720" rtlCol="0" anchor="ctr">
            <a:noAutofit/>
          </a:bodyPr>
          <a:lstStyle/>
          <a:p>
            <a:r>
              <a:rPr lang="en-US" sz="5400" b="1"/>
              <a:t>- JUNIORERNE</a:t>
            </a:r>
            <a:br>
              <a:rPr lang="en-US" sz="5400" b="1"/>
            </a:br>
            <a:r>
              <a:rPr lang="en-US" sz="5400" b="1"/>
              <a:t>LEVERER</a:t>
            </a:r>
          </a:p>
        </p:txBody>
      </p:sp>
      <p:sp>
        <p:nvSpPr>
          <p:cNvPr id="3" name="Tekstfelt 2">
            <a:extLst>
              <a:ext uri="{FF2B5EF4-FFF2-40B4-BE49-F238E27FC236}">
                <a16:creationId xmlns:a16="http://schemas.microsoft.com/office/drawing/2014/main" id="{E1D2640F-12BE-2FE5-03CE-98428950CC3F}"/>
              </a:ext>
            </a:extLst>
          </p:cNvPr>
          <p:cNvSpPr txBox="1"/>
          <p:nvPr/>
        </p:nvSpPr>
        <p:spPr>
          <a:xfrm>
            <a:off x="8390844" y="1335903"/>
            <a:ext cx="6096000" cy="1754326"/>
          </a:xfrm>
          <a:prstGeom prst="rect">
            <a:avLst/>
          </a:prstGeom>
          <a:noFill/>
        </p:spPr>
        <p:txBody>
          <a:bodyPr wrap="square">
            <a:spAutoFit/>
          </a:bodyPr>
          <a:lstStyle/>
          <a:p>
            <a:r>
              <a:rPr lang="en-US" sz="5400" b="1" dirty="0">
                <a:solidFill>
                  <a:prstClr val="black"/>
                </a:solidFill>
                <a:latin typeface="Calibri Light" panose="020F0302020204030204"/>
                <a:ea typeface="+mj-ea"/>
                <a:cs typeface="+mj-cs"/>
              </a:rPr>
              <a:t>SPORTSLIGE RESULTATER</a:t>
            </a:r>
            <a:endParaRPr lang="da-DK" sz="1400" dirty="0"/>
          </a:p>
        </p:txBody>
      </p:sp>
      <p:pic>
        <p:nvPicPr>
          <p:cNvPr id="4" name="Billede 3" descr="Et billede, der indeholder tekst, Grafik, logo, grafisk design">
            <a:extLst>
              <a:ext uri="{FF2B5EF4-FFF2-40B4-BE49-F238E27FC236}">
                <a16:creationId xmlns:a16="http://schemas.microsoft.com/office/drawing/2014/main" id="{D1496B06-DD99-09D1-6D58-EB598CAE38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250148696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8C0A4-E13C-9FB3-2A9A-1ACAA2E905CB}"/>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43B9BF1D-8928-2109-033B-2484546C855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5937" r="5937"/>
          <a:stretch/>
        </p:blipFill>
        <p:spPr>
          <a:xfrm>
            <a:off x="0" y="11728"/>
            <a:ext cx="8178800"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Titel 1">
            <a:extLst>
              <a:ext uri="{FF2B5EF4-FFF2-40B4-BE49-F238E27FC236}">
                <a16:creationId xmlns:a16="http://schemas.microsoft.com/office/drawing/2014/main" id="{B0B75D81-98C8-49EB-DD6C-AC0D61B09338}"/>
              </a:ext>
            </a:extLst>
          </p:cNvPr>
          <p:cNvSpPr>
            <a:spLocks noGrp="1"/>
          </p:cNvSpPr>
          <p:nvPr>
            <p:ph type="title"/>
          </p:nvPr>
        </p:nvSpPr>
        <p:spPr>
          <a:xfrm>
            <a:off x="8027987" y="4654732"/>
            <a:ext cx="8505825" cy="1338696"/>
          </a:xfrm>
        </p:spPr>
        <p:txBody>
          <a:bodyPr vert="horz" lIns="91440" tIns="45720" rIns="91440" bIns="45720" rtlCol="0" anchor="ctr">
            <a:normAutofit fontScale="90000"/>
          </a:bodyPr>
          <a:lstStyle/>
          <a:p>
            <a:r>
              <a:rPr lang="en-US" sz="6600" b="1"/>
              <a:t>- VETERAN</a:t>
            </a:r>
            <a:br>
              <a:rPr lang="en-US" sz="6600" b="1"/>
            </a:br>
            <a:r>
              <a:rPr lang="en-US" sz="6600" b="1"/>
              <a:t>OPRYKNING</a:t>
            </a:r>
          </a:p>
        </p:txBody>
      </p:sp>
      <p:pic>
        <p:nvPicPr>
          <p:cNvPr id="3" name="Billede 2" descr="Et billede, der indeholder tekst, Grafik, logo, grafisk design">
            <a:extLst>
              <a:ext uri="{FF2B5EF4-FFF2-40B4-BE49-F238E27FC236}">
                <a16:creationId xmlns:a16="http://schemas.microsoft.com/office/drawing/2014/main" id="{87167718-14CE-F9AD-238D-FBDE33C1BF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44618554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87908-0E83-8978-D666-A0DE3D7F574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202D0C6-769D-E215-ED69-84F546692E67}"/>
              </a:ext>
            </a:extLst>
          </p:cNvPr>
          <p:cNvSpPr>
            <a:spLocks noGrp="1"/>
          </p:cNvSpPr>
          <p:nvPr>
            <p:ph type="title"/>
          </p:nvPr>
        </p:nvSpPr>
        <p:spPr>
          <a:xfrm>
            <a:off x="5298426" y="1175793"/>
            <a:ext cx="8005292" cy="1338696"/>
          </a:xfrm>
        </p:spPr>
        <p:txBody>
          <a:bodyPr vert="horz" lIns="91440" tIns="45720" rIns="91440" bIns="45720" rtlCol="0" anchor="ctr">
            <a:noAutofit/>
          </a:bodyPr>
          <a:lstStyle/>
          <a:p>
            <a:r>
              <a:rPr lang="en-US" sz="6700" b="1">
                <a:ea typeface="Calibri Light"/>
                <a:cs typeface="Calibri Light"/>
              </a:rPr>
              <a:t>Tak </a:t>
            </a:r>
            <a:r>
              <a:rPr lang="en-US" sz="6700" b="1" err="1">
                <a:ea typeface="Calibri Light"/>
                <a:cs typeface="Calibri Light"/>
              </a:rPr>
              <a:t>til</a:t>
            </a:r>
            <a:r>
              <a:rPr lang="en-US" sz="6700" b="1">
                <a:ea typeface="Calibri Light"/>
                <a:cs typeface="Calibri Light"/>
              </a:rPr>
              <a:t> </a:t>
            </a:r>
            <a:r>
              <a:rPr lang="en-US" sz="6700" b="1" err="1">
                <a:ea typeface="Calibri Light"/>
                <a:cs typeface="Calibri Light"/>
              </a:rPr>
              <a:t>vores</a:t>
            </a:r>
            <a:r>
              <a:rPr lang="en-US" sz="6700" b="1">
                <a:ea typeface="Calibri Light"/>
                <a:cs typeface="Calibri Light"/>
              </a:rPr>
              <a:t> </a:t>
            </a:r>
            <a:br>
              <a:rPr lang="en-US" sz="6700" b="1">
                <a:ea typeface="Calibri Light"/>
                <a:cs typeface="Calibri Light"/>
              </a:rPr>
            </a:br>
            <a:r>
              <a:rPr lang="en-US" sz="6700" b="1" err="1">
                <a:ea typeface="Calibri Light"/>
                <a:cs typeface="Calibri Light"/>
              </a:rPr>
              <a:t>sponsorer</a:t>
            </a:r>
            <a:r>
              <a:rPr lang="en-US" sz="6700" b="1">
                <a:ea typeface="Calibri Light"/>
                <a:cs typeface="Calibri Light"/>
              </a:rPr>
              <a:t>!</a:t>
            </a:r>
          </a:p>
        </p:txBody>
      </p:sp>
      <p:pic>
        <p:nvPicPr>
          <p:cNvPr id="5" name="Pladsholder til indhold 4">
            <a:extLst>
              <a:ext uri="{FF2B5EF4-FFF2-40B4-BE49-F238E27FC236}">
                <a16:creationId xmlns:a16="http://schemas.microsoft.com/office/drawing/2014/main" id="{E70E0B02-4883-F8BD-956C-DDD10CAA762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308" r="14571" b="-157"/>
          <a:stretch>
            <a:fillRect/>
          </a:stretch>
        </p:blipFill>
        <p:spPr>
          <a:xfrm>
            <a:off x="0" y="10"/>
            <a:ext cx="4308702" cy="6868743"/>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BBCD93E4-E112-A7CB-6C36-C505F4773E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31" name="Picture 30">
            <a:extLst>
              <a:ext uri="{FF2B5EF4-FFF2-40B4-BE49-F238E27FC236}">
                <a16:creationId xmlns:a16="http://schemas.microsoft.com/office/drawing/2014/main" id="{A500A649-6D91-DEE3-D733-4A9738CD97DB}"/>
              </a:ext>
            </a:extLst>
          </p:cNvPr>
          <p:cNvPicPr>
            <a:picLocks noChangeAspect="1"/>
          </p:cNvPicPr>
          <p:nvPr/>
        </p:nvPicPr>
        <p:blipFill>
          <a:blip r:embed="rId5"/>
          <a:stretch>
            <a:fillRect/>
          </a:stretch>
        </p:blipFill>
        <p:spPr>
          <a:xfrm>
            <a:off x="2585433" y="3395729"/>
            <a:ext cx="3447245" cy="3457977"/>
          </a:xfrm>
          <a:prstGeom prst="rect">
            <a:avLst/>
          </a:prstGeom>
        </p:spPr>
      </p:pic>
      <p:pic>
        <p:nvPicPr>
          <p:cNvPr id="32" name="Picture 31">
            <a:extLst>
              <a:ext uri="{FF2B5EF4-FFF2-40B4-BE49-F238E27FC236}">
                <a16:creationId xmlns:a16="http://schemas.microsoft.com/office/drawing/2014/main" id="{FC717F05-8B28-9050-4CE4-38975BF84C73}"/>
              </a:ext>
            </a:extLst>
          </p:cNvPr>
          <p:cNvPicPr>
            <a:picLocks noChangeAspect="1"/>
          </p:cNvPicPr>
          <p:nvPr/>
        </p:nvPicPr>
        <p:blipFill>
          <a:blip r:embed="rId5"/>
          <a:stretch>
            <a:fillRect/>
          </a:stretch>
        </p:blipFill>
        <p:spPr>
          <a:xfrm>
            <a:off x="5622700" y="3406461"/>
            <a:ext cx="3447245" cy="3457977"/>
          </a:xfrm>
          <a:prstGeom prst="rect">
            <a:avLst/>
          </a:prstGeom>
        </p:spPr>
      </p:pic>
      <p:pic>
        <p:nvPicPr>
          <p:cNvPr id="33" name="Picture 32">
            <a:extLst>
              <a:ext uri="{FF2B5EF4-FFF2-40B4-BE49-F238E27FC236}">
                <a16:creationId xmlns:a16="http://schemas.microsoft.com/office/drawing/2014/main" id="{6EEB9A71-CB1D-EFB3-5C92-D8A5B2C46793}"/>
              </a:ext>
            </a:extLst>
          </p:cNvPr>
          <p:cNvPicPr>
            <a:picLocks noChangeAspect="1"/>
          </p:cNvPicPr>
          <p:nvPr/>
        </p:nvPicPr>
        <p:blipFill>
          <a:blip r:embed="rId5"/>
          <a:stretch>
            <a:fillRect/>
          </a:stretch>
        </p:blipFill>
        <p:spPr>
          <a:xfrm>
            <a:off x="8745827" y="3406461"/>
            <a:ext cx="3447245" cy="3457977"/>
          </a:xfrm>
          <a:prstGeom prst="rect">
            <a:avLst/>
          </a:prstGeom>
        </p:spPr>
      </p:pic>
    </p:spTree>
    <p:extLst>
      <p:ext uri="{BB962C8B-B14F-4D97-AF65-F5344CB8AC3E}">
        <p14:creationId xmlns:p14="http://schemas.microsoft.com/office/powerpoint/2010/main" val="4014869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84C6C-ED25-F3E6-9C26-1737B21EE4EF}"/>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BBC67C20-9B6D-A1F6-AE93-87CFCCC254C4}"/>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7355" t="18601" r="2355" b="18466"/>
          <a:stretch>
            <a:fillRect/>
          </a:stretch>
        </p:blipFill>
        <p:spPr>
          <a:xfrm>
            <a:off x="1154" y="0"/>
            <a:ext cx="5748834" cy="68628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Tekstfelt 1">
            <a:extLst>
              <a:ext uri="{FF2B5EF4-FFF2-40B4-BE49-F238E27FC236}">
                <a16:creationId xmlns:a16="http://schemas.microsoft.com/office/drawing/2014/main" id="{2CEBC2BB-F458-815F-0F4F-31830E14799A}"/>
              </a:ext>
            </a:extLst>
          </p:cNvPr>
          <p:cNvSpPr txBox="1"/>
          <p:nvPr/>
        </p:nvSpPr>
        <p:spPr>
          <a:xfrm>
            <a:off x="6095395" y="678336"/>
            <a:ext cx="6143194" cy="5632311"/>
          </a:xfrm>
          <a:prstGeom prst="rect">
            <a:avLst/>
          </a:prstGeom>
          <a:noFill/>
        </p:spPr>
        <p:txBody>
          <a:bodyPr wrap="square" lIns="91440" tIns="45720" rIns="91440" bIns="45720" anchor="t">
            <a:spAutoFit/>
          </a:bodyPr>
          <a:lstStyle/>
          <a:p>
            <a:r>
              <a:rPr lang="en-US" sz="6000" b="1" dirty="0">
                <a:latin typeface="+mj-lt"/>
              </a:rPr>
              <a:t>OG TIL DE </a:t>
            </a:r>
            <a:r>
              <a:rPr lang="en-US" sz="6000" b="1">
                <a:latin typeface="+mj-lt"/>
              </a:rPr>
              <a:t>FRIVILLIGE </a:t>
            </a:r>
            <a:endParaRPr lang="da-DK" sz="1600">
              <a:latin typeface="+mj-lt"/>
            </a:endParaRPr>
          </a:p>
          <a:p>
            <a:endParaRPr lang="en-US" sz="6000" b="1" dirty="0">
              <a:latin typeface="+mj-lt"/>
            </a:endParaRPr>
          </a:p>
          <a:p>
            <a:r>
              <a:rPr lang="en-US" sz="6000" b="1">
                <a:latin typeface="+mj-lt"/>
              </a:rPr>
              <a:t>TAK TIL JER DER GØR DET HELE MULIGT!</a:t>
            </a:r>
            <a:endParaRPr lang="da-DK" sz="1600">
              <a:latin typeface="+mj-lt"/>
              <a:ea typeface="Calibri Light"/>
              <a:cs typeface="Calibri Light"/>
            </a:endParaRPr>
          </a:p>
        </p:txBody>
      </p:sp>
      <p:pic>
        <p:nvPicPr>
          <p:cNvPr id="4" name="Billede 2" descr="Et billede, der indeholder tekst, Grafik, logo, grafisk design">
            <a:extLst>
              <a:ext uri="{FF2B5EF4-FFF2-40B4-BE49-F238E27FC236}">
                <a16:creationId xmlns:a16="http://schemas.microsoft.com/office/drawing/2014/main" id="{A40B397F-16E9-19FB-985B-E28FD66AD3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33577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009F1-1CA5-25A3-CD31-4DB79E0486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8D3D5DF-80B1-2DA4-8D5F-08D2B7D49939}"/>
              </a:ext>
            </a:extLst>
          </p:cNvPr>
          <p:cNvSpPr>
            <a:spLocks noGrp="1"/>
          </p:cNvSpPr>
          <p:nvPr>
            <p:ph type="title"/>
          </p:nvPr>
        </p:nvSpPr>
        <p:spPr>
          <a:xfrm>
            <a:off x="2444463" y="781625"/>
            <a:ext cx="6781800" cy="1338696"/>
          </a:xfrm>
        </p:spPr>
        <p:txBody>
          <a:bodyPr vert="horz" lIns="91440" tIns="45720" rIns="91440" bIns="45720" rtlCol="0" anchor="ctr">
            <a:normAutofit fontScale="90000"/>
          </a:bodyPr>
          <a:lstStyle/>
          <a:p>
            <a:pPr algn="ctr"/>
            <a:r>
              <a:rPr lang="en-US" sz="6600" b="1"/>
              <a:t>SHOP </a:t>
            </a:r>
            <a:br>
              <a:rPr lang="en-US" sz="6600" b="1"/>
            </a:br>
            <a:r>
              <a:rPr lang="en-US" sz="6600" b="1"/>
              <a:t>&amp; </a:t>
            </a:r>
            <a:br>
              <a:rPr lang="en-US" sz="6600" b="1"/>
            </a:br>
            <a:r>
              <a:rPr lang="en-US" sz="6600" b="1"/>
              <a:t>CAFE</a:t>
            </a:r>
          </a:p>
        </p:txBody>
      </p:sp>
      <p:pic>
        <p:nvPicPr>
          <p:cNvPr id="5" name="Pladsholder til indhold 4">
            <a:extLst>
              <a:ext uri="{FF2B5EF4-FFF2-40B4-BE49-F238E27FC236}">
                <a16:creationId xmlns:a16="http://schemas.microsoft.com/office/drawing/2014/main" id="{82516C5E-0748-22B5-7F03-510A2E65CA6B}"/>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7528" r="1855"/>
          <a:stretch>
            <a:fillRect/>
          </a:stretch>
        </p:blipFill>
        <p:spPr>
          <a:xfrm>
            <a:off x="0" y="10"/>
            <a:ext cx="4660900"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0EE489DF-ACE7-F0A6-8CE2-BE1905800A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9" name="Pladsholder til indhold 4">
            <a:extLst>
              <a:ext uri="{FF2B5EF4-FFF2-40B4-BE49-F238E27FC236}">
                <a16:creationId xmlns:a16="http://schemas.microsoft.com/office/drawing/2014/main" id="{65155F6D-28F8-3A4A-92C9-48D6F3BA9E2E}"/>
              </a:ext>
            </a:extLst>
          </p:cNvPr>
          <p:cNvPicPr>
            <a:picLocks noChangeAspect="1"/>
          </p:cNvPicPr>
          <p:nvPr/>
        </p:nvPicPr>
        <p:blipFill>
          <a:blip r:embed="rId5">
            <a:extLst>
              <a:ext uri="{28A0092B-C50C-407E-A947-70E740481C1C}">
                <a14:useLocalDpi xmlns:a14="http://schemas.microsoft.com/office/drawing/2010/main" val="0"/>
              </a:ext>
            </a:extLst>
          </a:blip>
          <a:srcRect l="-37" r="-37"/>
          <a:stretch>
            <a:fillRect/>
          </a:stretch>
        </p:blipFill>
        <p:spPr>
          <a:xfrm flipH="1">
            <a:off x="7048500" y="158932"/>
            <a:ext cx="5143500"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Tree>
    <p:extLst>
      <p:ext uri="{BB962C8B-B14F-4D97-AF65-F5344CB8AC3E}">
        <p14:creationId xmlns:p14="http://schemas.microsoft.com/office/powerpoint/2010/main" val="8037676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24B44-C839-1E30-37B5-FA40D67D996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BEA8DAD-725B-E090-BEBC-63ED9E92C36D}"/>
              </a:ext>
            </a:extLst>
          </p:cNvPr>
          <p:cNvSpPr>
            <a:spLocks noGrp="1"/>
          </p:cNvSpPr>
          <p:nvPr>
            <p:ph type="title"/>
          </p:nvPr>
        </p:nvSpPr>
        <p:spPr>
          <a:xfrm>
            <a:off x="4333097" y="0"/>
            <a:ext cx="6781800" cy="1338696"/>
          </a:xfrm>
        </p:spPr>
        <p:txBody>
          <a:bodyPr vert="horz" lIns="91440" tIns="45720" rIns="91440" bIns="45720" rtlCol="0" anchor="ctr">
            <a:normAutofit/>
          </a:bodyPr>
          <a:lstStyle/>
          <a:p>
            <a:r>
              <a:rPr lang="en-US" sz="6600" b="1" dirty="0"/>
              <a:t>DAGSORDEN 2/2</a:t>
            </a:r>
          </a:p>
        </p:txBody>
      </p:sp>
      <p:pic>
        <p:nvPicPr>
          <p:cNvPr id="5" name="Pladsholder til indhold 4">
            <a:extLst>
              <a:ext uri="{FF2B5EF4-FFF2-40B4-BE49-F238E27FC236}">
                <a16:creationId xmlns:a16="http://schemas.microsoft.com/office/drawing/2014/main" id="{5ECB8333-5AB7-1CAD-3A66-4626A9FEBFDE}"/>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9469" r="29469"/>
          <a:stretch/>
        </p:blipFill>
        <p:spPr>
          <a:xfrm>
            <a:off x="0" y="10"/>
            <a:ext cx="3754739"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Pladsholder til indhold 3">
            <a:extLst>
              <a:ext uri="{FF2B5EF4-FFF2-40B4-BE49-F238E27FC236}">
                <a16:creationId xmlns:a16="http://schemas.microsoft.com/office/drawing/2014/main" id="{4AF7568D-6825-AEF0-916C-0BF17609F5C0}"/>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480955" y="1338696"/>
            <a:ext cx="8412308" cy="5155409"/>
          </a:xfrm>
        </p:spPr>
        <p:txBody>
          <a:bodyPr>
            <a:normAutofit/>
          </a:bodyPr>
          <a:lstStyle/>
          <a:p>
            <a:pPr marL="914400" lvl="1" indent="-457200">
              <a:buFont typeface="+mj-lt"/>
              <a:buAutoNum type="arabicPeriod" startAt="6"/>
            </a:pPr>
            <a:r>
              <a:rPr lang="da-DK" sz="3200"/>
              <a:t>Forslag fra medlemmerne</a:t>
            </a:r>
          </a:p>
          <a:p>
            <a:pPr marL="914400" lvl="1" indent="-457200">
              <a:buAutoNum type="arabicPeriod" startAt="6"/>
            </a:pPr>
            <a:r>
              <a:rPr lang="da-DK" sz="3200"/>
              <a:t>Valg af bestyrelsesmedlemmer</a:t>
            </a:r>
          </a:p>
          <a:p>
            <a:pPr marL="1371600" lvl="2" indent="-457200">
              <a:buFont typeface="Arial" panose="020B0604020202020204" pitchFamily="34" charset="0"/>
              <a:buAutoNum type="arabicPeriod"/>
            </a:pPr>
            <a:r>
              <a:rPr lang="da-DK" sz="2800"/>
              <a:t>Kari Martinsen – modtager ikke genvalg</a:t>
            </a:r>
          </a:p>
          <a:p>
            <a:pPr marL="1371600" lvl="2" indent="-457200">
              <a:buAutoNum type="arabicPeriod"/>
            </a:pPr>
            <a:r>
              <a:rPr lang="da-DK" sz="2800"/>
              <a:t>Niels Peter Purup Madsen – modtager genvalg</a:t>
            </a:r>
          </a:p>
          <a:p>
            <a:pPr marL="1371600" lvl="2" indent="-457200">
              <a:buAutoNum type="arabicPeriod"/>
            </a:pPr>
            <a:r>
              <a:rPr lang="da-DK" sz="2800"/>
              <a:t>Ole Korsholm – modtager genvalg</a:t>
            </a:r>
          </a:p>
          <a:p>
            <a:pPr marL="914400" lvl="1" indent="-457200">
              <a:buAutoNum type="arabicPeriod" startAt="6"/>
            </a:pPr>
            <a:r>
              <a:rPr lang="da-DK" sz="3200"/>
              <a:t>Valg af suppleant</a:t>
            </a:r>
          </a:p>
          <a:p>
            <a:pPr marL="914400" lvl="1" indent="-457200">
              <a:buAutoNum type="arabicPeriod" startAt="6"/>
            </a:pPr>
            <a:r>
              <a:rPr lang="da-DK" sz="3200"/>
              <a:t>Valg af revisor</a:t>
            </a:r>
          </a:p>
          <a:p>
            <a:pPr marL="914400" lvl="1" indent="-457200">
              <a:buAutoNum type="arabicPeriod" startAt="6"/>
            </a:pPr>
            <a:r>
              <a:rPr lang="da-DK" sz="3200"/>
              <a:t>Eventuelt</a:t>
            </a:r>
          </a:p>
        </p:txBody>
      </p:sp>
      <p:pic>
        <p:nvPicPr>
          <p:cNvPr id="3" name="Billede 2" descr="Et billede, der indeholder tekst, Grafik, logo, grafisk design">
            <a:extLst>
              <a:ext uri="{FF2B5EF4-FFF2-40B4-BE49-F238E27FC236}">
                <a16:creationId xmlns:a16="http://schemas.microsoft.com/office/drawing/2014/main" id="{FF7C80F2-AEDD-F6B6-8468-E895A3D5D4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24171756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3A973-7A6E-9D86-DB69-A72287CDEF8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EF90305-A317-4059-8F47-796DF6D63131}"/>
              </a:ext>
            </a:extLst>
          </p:cNvPr>
          <p:cNvSpPr>
            <a:spLocks noGrp="1"/>
          </p:cNvSpPr>
          <p:nvPr>
            <p:ph type="title"/>
          </p:nvPr>
        </p:nvSpPr>
        <p:spPr>
          <a:xfrm>
            <a:off x="1589897" y="197032"/>
            <a:ext cx="6781800" cy="1338696"/>
          </a:xfrm>
        </p:spPr>
        <p:txBody>
          <a:bodyPr vert="horz" lIns="91440" tIns="45720" rIns="91440" bIns="45720" rtlCol="0" anchor="ctr">
            <a:normAutofit/>
          </a:bodyPr>
          <a:lstStyle/>
          <a:p>
            <a:r>
              <a:rPr lang="en-US" sz="6600" b="1"/>
              <a:t>MOMSREFUSION</a:t>
            </a:r>
          </a:p>
        </p:txBody>
      </p:sp>
      <p:pic>
        <p:nvPicPr>
          <p:cNvPr id="5" name="Pladsholder til indhold 4">
            <a:extLst>
              <a:ext uri="{FF2B5EF4-FFF2-40B4-BE49-F238E27FC236}">
                <a16:creationId xmlns:a16="http://schemas.microsoft.com/office/drawing/2014/main" id="{AC52EF0C-3706-69F5-1230-C24751D0428D}"/>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255DDA0D-87F5-70B6-1DB2-58E790F813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16" name="Text 6">
            <a:extLst>
              <a:ext uri="{FF2B5EF4-FFF2-40B4-BE49-F238E27FC236}">
                <a16:creationId xmlns:a16="http://schemas.microsoft.com/office/drawing/2014/main" id="{FF186DBB-4211-025F-A904-56123EC2EAB7}"/>
              </a:ext>
            </a:extLst>
          </p:cNvPr>
          <p:cNvSpPr/>
          <p:nvPr/>
        </p:nvSpPr>
        <p:spPr>
          <a:xfrm>
            <a:off x="1803399" y="1480903"/>
            <a:ext cx="9550400" cy="640080"/>
          </a:xfrm>
          <a:prstGeom prst="rect">
            <a:avLst/>
          </a:prstGeom>
          <a:noFill/>
          <a:ln/>
        </p:spPr>
        <p:txBody>
          <a:bodyPr wrap="square" lIns="0" tIns="0" rIns="0" bIns="0" rtlCol="0" anchor="ctr"/>
          <a:lstStyle/>
          <a:p>
            <a:pPr marL="0" indent="0">
              <a:buNone/>
            </a:pPr>
            <a:r>
              <a:rPr lang="en-US" sz="4000">
                <a:solidFill>
                  <a:srgbClr val="363636"/>
                </a:solidFill>
                <a:latin typeface="Arial" pitchFamily="34" charset="0"/>
                <a:ea typeface="Arial" pitchFamily="34" charset="-122"/>
                <a:cs typeface="Arial" pitchFamily="34" charset="-120"/>
              </a:rPr>
              <a:t>- </a:t>
            </a:r>
            <a:r>
              <a:rPr lang="en-US" sz="3600" err="1">
                <a:solidFill>
                  <a:srgbClr val="363636"/>
                </a:solidFill>
                <a:latin typeface="Arial" pitchFamily="34" charset="0"/>
                <a:ea typeface="Arial" pitchFamily="34" charset="-122"/>
                <a:cs typeface="Arial" pitchFamily="34" charset="-120"/>
              </a:rPr>
              <a:t>forudsat</a:t>
            </a:r>
            <a:r>
              <a:rPr lang="en-US" sz="3600">
                <a:solidFill>
                  <a:srgbClr val="363636"/>
                </a:solidFill>
                <a:latin typeface="Arial" pitchFamily="34" charset="0"/>
                <a:ea typeface="Arial" pitchFamily="34" charset="-122"/>
                <a:cs typeface="Arial" pitchFamily="34" charset="-120"/>
              </a:rPr>
              <a:t> at 101 medlemmer accepterer at give en gave på minimum 200 kr. til klubben.</a:t>
            </a:r>
            <a:endParaRPr lang="en-US" sz="4000"/>
          </a:p>
        </p:txBody>
      </p:sp>
      <p:sp>
        <p:nvSpPr>
          <p:cNvPr id="17" name="Shape 7">
            <a:extLst>
              <a:ext uri="{FF2B5EF4-FFF2-40B4-BE49-F238E27FC236}">
                <a16:creationId xmlns:a16="http://schemas.microsoft.com/office/drawing/2014/main" id="{A659453A-A3D5-CE74-437C-6707F5A57305}"/>
              </a:ext>
            </a:extLst>
          </p:cNvPr>
          <p:cNvSpPr/>
          <p:nvPr/>
        </p:nvSpPr>
        <p:spPr>
          <a:xfrm>
            <a:off x="3038472" y="2557078"/>
            <a:ext cx="6732589" cy="1093769"/>
          </a:xfrm>
          <a:prstGeom prst="rect">
            <a:avLst/>
          </a:prstGeom>
          <a:solidFill>
            <a:srgbClr val="F2F2F2"/>
          </a:solidFill>
          <a:ln w="12700">
            <a:solidFill>
              <a:srgbClr val="92D050"/>
            </a:solidFill>
            <a:prstDash val="solid"/>
          </a:ln>
        </p:spPr>
        <p:txBody>
          <a:bodyPr/>
          <a:lstStyle/>
          <a:p>
            <a:endParaRPr lang="da-DK"/>
          </a:p>
        </p:txBody>
      </p:sp>
      <p:sp>
        <p:nvSpPr>
          <p:cNvPr id="18" name="Text 8">
            <a:extLst>
              <a:ext uri="{FF2B5EF4-FFF2-40B4-BE49-F238E27FC236}">
                <a16:creationId xmlns:a16="http://schemas.microsoft.com/office/drawing/2014/main" id="{B246340C-30D3-129D-E066-85ED206B2EF6}"/>
              </a:ext>
            </a:extLst>
          </p:cNvPr>
          <p:cNvSpPr/>
          <p:nvPr/>
        </p:nvSpPr>
        <p:spPr>
          <a:xfrm>
            <a:off x="3212303" y="2737383"/>
            <a:ext cx="6384925" cy="733158"/>
          </a:xfrm>
          <a:prstGeom prst="rect">
            <a:avLst/>
          </a:prstGeom>
          <a:noFill/>
          <a:ln/>
        </p:spPr>
        <p:txBody>
          <a:bodyPr wrap="square" lIns="0" tIns="0" rIns="0" bIns="0" rtlCol="0" anchor="ctr"/>
          <a:lstStyle/>
          <a:p>
            <a:pPr marL="0" indent="0" algn="ctr">
              <a:buNone/>
            </a:pPr>
            <a:r>
              <a:rPr lang="en-US" sz="4800" dirty="0" err="1">
                <a:solidFill>
                  <a:srgbClr val="363636"/>
                </a:solidFill>
                <a:latin typeface="Arial" pitchFamily="34" charset="0"/>
                <a:ea typeface="Arial" pitchFamily="34" charset="-122"/>
                <a:cs typeface="Arial" pitchFamily="34" charset="-120"/>
              </a:rPr>
              <a:t>MobilPay</a:t>
            </a:r>
            <a:r>
              <a:rPr lang="en-US" sz="4800" dirty="0">
                <a:solidFill>
                  <a:srgbClr val="363636"/>
                </a:solidFill>
                <a:latin typeface="Arial" pitchFamily="34" charset="0"/>
                <a:ea typeface="Arial" pitchFamily="34" charset="-122"/>
                <a:cs typeface="Arial" pitchFamily="34" charset="-120"/>
              </a:rPr>
              <a:t> nr. </a:t>
            </a:r>
            <a:r>
              <a:rPr lang="en-US" sz="8000" b="1" dirty="0">
                <a:solidFill>
                  <a:srgbClr val="1F4E79"/>
                </a:solidFill>
                <a:latin typeface="Arial" pitchFamily="34" charset="0"/>
                <a:ea typeface="Arial" pitchFamily="34" charset="-122"/>
                <a:cs typeface="Arial" pitchFamily="34" charset="-120"/>
              </a:rPr>
              <a:t>29118</a:t>
            </a:r>
            <a:endParaRPr lang="en-US" sz="4000" dirty="0"/>
          </a:p>
        </p:txBody>
      </p:sp>
      <p:sp>
        <p:nvSpPr>
          <p:cNvPr id="19" name="Text 9">
            <a:extLst>
              <a:ext uri="{FF2B5EF4-FFF2-40B4-BE49-F238E27FC236}">
                <a16:creationId xmlns:a16="http://schemas.microsoft.com/office/drawing/2014/main" id="{72C7B395-38F2-8616-B82F-72AC6B398DF2}"/>
              </a:ext>
            </a:extLst>
          </p:cNvPr>
          <p:cNvSpPr/>
          <p:nvPr/>
        </p:nvSpPr>
        <p:spPr>
          <a:xfrm>
            <a:off x="3472005" y="3854163"/>
            <a:ext cx="6384925" cy="320040"/>
          </a:xfrm>
          <a:prstGeom prst="rect">
            <a:avLst/>
          </a:prstGeom>
          <a:noFill/>
          <a:ln/>
        </p:spPr>
        <p:txBody>
          <a:bodyPr wrap="square" lIns="0" tIns="0" rIns="0" bIns="0" rtlCol="0" anchor="ctr"/>
          <a:lstStyle/>
          <a:p>
            <a:pPr marL="0" indent="0">
              <a:buNone/>
            </a:pPr>
            <a:r>
              <a:rPr lang="en-US" sz="2400" i="1" dirty="0">
                <a:solidFill>
                  <a:srgbClr val="555555"/>
                </a:solidFill>
                <a:latin typeface="Arial" pitchFamily="34" charset="0"/>
                <a:ea typeface="Arial" pitchFamily="34" charset="-122"/>
                <a:cs typeface="Arial" pitchFamily="34" charset="-120"/>
              </a:rPr>
              <a:t>Husk at </a:t>
            </a:r>
            <a:r>
              <a:rPr lang="en-US" sz="2400" i="1" dirty="0" err="1">
                <a:solidFill>
                  <a:srgbClr val="555555"/>
                </a:solidFill>
                <a:latin typeface="Arial" pitchFamily="34" charset="0"/>
                <a:ea typeface="Arial" pitchFamily="34" charset="-122"/>
                <a:cs typeface="Arial" pitchFamily="34" charset="-120"/>
              </a:rPr>
              <a:t>angive</a:t>
            </a:r>
            <a:r>
              <a:rPr lang="en-US" sz="2400" i="1" dirty="0">
                <a:solidFill>
                  <a:srgbClr val="555555"/>
                </a:solidFill>
                <a:latin typeface="Arial" pitchFamily="34" charset="0"/>
                <a:ea typeface="Arial" pitchFamily="34" charset="-122"/>
                <a:cs typeface="Arial" pitchFamily="34" charset="-120"/>
              </a:rPr>
              <a:t> </a:t>
            </a:r>
            <a:r>
              <a:rPr lang="en-US" sz="2400" i="1" dirty="0" err="1">
                <a:solidFill>
                  <a:srgbClr val="555555"/>
                </a:solidFill>
                <a:latin typeface="Arial" pitchFamily="34" charset="0"/>
                <a:ea typeface="Arial" pitchFamily="34" charset="-122"/>
                <a:cs typeface="Arial" pitchFamily="34" charset="-120"/>
              </a:rPr>
              <a:t>personnummer</a:t>
            </a:r>
            <a:r>
              <a:rPr lang="en-US" sz="2400" i="1" dirty="0">
                <a:solidFill>
                  <a:srgbClr val="555555"/>
                </a:solidFill>
                <a:latin typeface="Arial" pitchFamily="34" charset="0"/>
                <a:ea typeface="Arial" pitchFamily="34" charset="-122"/>
                <a:cs typeface="Arial" pitchFamily="34" charset="-120"/>
              </a:rPr>
              <a:t> – alle 10 </a:t>
            </a:r>
            <a:r>
              <a:rPr lang="en-US" sz="2400" i="1" dirty="0" err="1">
                <a:solidFill>
                  <a:srgbClr val="555555"/>
                </a:solidFill>
                <a:latin typeface="Arial" pitchFamily="34" charset="0"/>
                <a:ea typeface="Arial" pitchFamily="34" charset="-122"/>
                <a:cs typeface="Arial" pitchFamily="34" charset="-120"/>
              </a:rPr>
              <a:t>cifre</a:t>
            </a:r>
            <a:endParaRPr lang="en-US" sz="2400" dirty="0"/>
          </a:p>
        </p:txBody>
      </p:sp>
      <p:sp>
        <p:nvSpPr>
          <p:cNvPr id="21" name="Text 11">
            <a:extLst>
              <a:ext uri="{FF2B5EF4-FFF2-40B4-BE49-F238E27FC236}">
                <a16:creationId xmlns:a16="http://schemas.microsoft.com/office/drawing/2014/main" id="{4C3CA9A4-85A2-05EB-E01F-9FF646D85A43}"/>
              </a:ext>
            </a:extLst>
          </p:cNvPr>
          <p:cNvSpPr/>
          <p:nvPr/>
        </p:nvSpPr>
        <p:spPr>
          <a:xfrm>
            <a:off x="4500880" y="5600700"/>
            <a:ext cx="4663440" cy="914400"/>
          </a:xfrm>
          <a:prstGeom prst="rect">
            <a:avLst/>
          </a:prstGeom>
          <a:noFill/>
          <a:ln/>
        </p:spPr>
        <p:txBody>
          <a:bodyPr wrap="square" lIns="0" tIns="0" rIns="0" bIns="0" rtlCol="0" anchor="ctr"/>
          <a:lstStyle/>
          <a:p>
            <a:pPr marL="0" indent="0">
              <a:buNone/>
            </a:pPr>
            <a:endParaRPr lang="en-US" sz="1300"/>
          </a:p>
        </p:txBody>
      </p:sp>
      <p:sp>
        <p:nvSpPr>
          <p:cNvPr id="22" name="Rektangel: afrundede hjørner 21">
            <a:extLst>
              <a:ext uri="{FF2B5EF4-FFF2-40B4-BE49-F238E27FC236}">
                <a16:creationId xmlns:a16="http://schemas.microsoft.com/office/drawing/2014/main" id="{B93F3DEE-E6F1-2579-12D9-635E56707E1C}"/>
              </a:ext>
            </a:extLst>
          </p:cNvPr>
          <p:cNvSpPr/>
          <p:nvPr/>
        </p:nvSpPr>
        <p:spPr>
          <a:xfrm>
            <a:off x="2102136" y="4737018"/>
            <a:ext cx="9124664" cy="136850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3200" dirty="0">
                <a:solidFill>
                  <a:schemeClr val="bg1"/>
                </a:solidFill>
                <a:latin typeface="Arial" pitchFamily="34" charset="0"/>
                <a:ea typeface="Arial" pitchFamily="34" charset="-122"/>
                <a:cs typeface="Arial" pitchFamily="34" charset="-120"/>
              </a:rPr>
              <a:t>I 2025 </a:t>
            </a:r>
            <a:r>
              <a:rPr lang="en-US" sz="3200" dirty="0" err="1">
                <a:solidFill>
                  <a:schemeClr val="bg1"/>
                </a:solidFill>
                <a:latin typeface="Arial" pitchFamily="34" charset="0"/>
                <a:ea typeface="Arial" pitchFamily="34" charset="-122"/>
                <a:cs typeface="Arial" pitchFamily="34" charset="-120"/>
              </a:rPr>
              <a:t>fik</a:t>
            </a:r>
            <a:r>
              <a:rPr lang="en-US" sz="3200" dirty="0">
                <a:solidFill>
                  <a:schemeClr val="bg1"/>
                </a:solidFill>
                <a:latin typeface="Arial" pitchFamily="34" charset="0"/>
                <a:ea typeface="Arial" pitchFamily="34" charset="-122"/>
                <a:cs typeface="Arial" pitchFamily="34" charset="-120"/>
              </a:rPr>
              <a:t> vi </a:t>
            </a:r>
            <a:r>
              <a:rPr lang="en-US" sz="3200" dirty="0" err="1">
                <a:solidFill>
                  <a:schemeClr val="bg1"/>
                </a:solidFill>
                <a:latin typeface="Arial" pitchFamily="34" charset="0"/>
                <a:ea typeface="Arial" pitchFamily="34" charset="-122"/>
                <a:cs typeface="Arial" pitchFamily="34" charset="-120"/>
              </a:rPr>
              <a:t>på</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grund</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af</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jer</a:t>
            </a:r>
            <a:r>
              <a:rPr lang="en-US" sz="3200" dirty="0">
                <a:solidFill>
                  <a:schemeClr val="bg1"/>
                </a:solidFill>
                <a:latin typeface="Arial" pitchFamily="34" charset="0"/>
                <a:ea typeface="Arial" pitchFamily="34" charset="-122"/>
                <a:cs typeface="Arial" pitchFamily="34" charset="-120"/>
              </a:rPr>
              <a:t> </a:t>
            </a:r>
            <a:r>
              <a:rPr lang="en-US" sz="3200" b="1" dirty="0">
                <a:solidFill>
                  <a:schemeClr val="bg1"/>
                </a:solidFill>
                <a:latin typeface="Arial" pitchFamily="34" charset="0"/>
                <a:ea typeface="Arial" pitchFamily="34" charset="-122"/>
                <a:cs typeface="Arial" pitchFamily="34" charset="-120"/>
              </a:rPr>
              <a:t>150.000 kr</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tilbage</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i</a:t>
            </a:r>
            <a:r>
              <a:rPr lang="en-US" sz="3200" dirty="0">
                <a:solidFill>
                  <a:schemeClr val="bg1"/>
                </a:solidFill>
                <a:latin typeface="Arial" pitchFamily="34" charset="0"/>
                <a:ea typeface="Arial" pitchFamily="34" charset="-122"/>
                <a:cs typeface="Arial" pitchFamily="34" charset="-120"/>
              </a:rPr>
              <a:t> moms </a:t>
            </a:r>
            <a:r>
              <a:rPr lang="en-US" sz="3200" dirty="0" err="1">
                <a:solidFill>
                  <a:schemeClr val="bg1"/>
                </a:solidFill>
                <a:latin typeface="Arial" pitchFamily="34" charset="0"/>
                <a:ea typeface="Arial" pitchFamily="34" charset="-122"/>
                <a:cs typeface="Arial" pitchFamily="34" charset="-120"/>
              </a:rPr>
              <a:t>og</a:t>
            </a:r>
            <a:r>
              <a:rPr lang="en-US" sz="3200" dirty="0">
                <a:solidFill>
                  <a:schemeClr val="bg1"/>
                </a:solidFill>
                <a:latin typeface="Arial" pitchFamily="34" charset="0"/>
                <a:ea typeface="Arial" pitchFamily="34" charset="-122"/>
                <a:cs typeface="Arial" pitchFamily="34" charset="-120"/>
              </a:rPr>
              <a:t> </a:t>
            </a:r>
            <a:r>
              <a:rPr lang="en-US" sz="3200" dirty="0" err="1">
                <a:solidFill>
                  <a:schemeClr val="bg1"/>
                </a:solidFill>
                <a:latin typeface="Arial" pitchFamily="34" charset="0"/>
                <a:ea typeface="Arial" pitchFamily="34" charset="-122"/>
                <a:cs typeface="Arial" pitchFamily="34" charset="-120"/>
              </a:rPr>
              <a:t>i</a:t>
            </a:r>
            <a:r>
              <a:rPr lang="en-US" sz="3200" dirty="0">
                <a:solidFill>
                  <a:schemeClr val="bg1"/>
                </a:solidFill>
                <a:latin typeface="Arial" pitchFamily="34" charset="0"/>
                <a:ea typeface="Arial" pitchFamily="34" charset="-122"/>
                <a:cs typeface="Arial" pitchFamily="34" charset="-120"/>
              </a:rPr>
              <a:t> 2024 var </a:t>
            </a:r>
            <a:r>
              <a:rPr lang="en-US" sz="3200" dirty="0" err="1">
                <a:solidFill>
                  <a:schemeClr val="bg1"/>
                </a:solidFill>
                <a:latin typeface="Arial" pitchFamily="34" charset="0"/>
                <a:ea typeface="Arial" pitchFamily="34" charset="-122"/>
                <a:cs typeface="Arial" pitchFamily="34" charset="-120"/>
              </a:rPr>
              <a:t>beløbet</a:t>
            </a:r>
            <a:r>
              <a:rPr lang="en-US" sz="3200" dirty="0">
                <a:solidFill>
                  <a:schemeClr val="bg1"/>
                </a:solidFill>
                <a:latin typeface="Arial" pitchFamily="34" charset="0"/>
                <a:ea typeface="Arial" pitchFamily="34" charset="-122"/>
                <a:cs typeface="Arial" pitchFamily="34" charset="-120"/>
              </a:rPr>
              <a:t> </a:t>
            </a:r>
            <a:r>
              <a:rPr lang="en-US" sz="3200" b="1" dirty="0">
                <a:solidFill>
                  <a:schemeClr val="bg1"/>
                </a:solidFill>
                <a:latin typeface="Arial" pitchFamily="34" charset="0"/>
                <a:ea typeface="Arial" pitchFamily="34" charset="-122"/>
                <a:cs typeface="Arial" pitchFamily="34" charset="-120"/>
              </a:rPr>
              <a:t>163.000 kr.</a:t>
            </a:r>
            <a:endParaRPr lang="en-US" sz="1600" dirty="0">
              <a:solidFill>
                <a:schemeClr val="bg1"/>
              </a:solidFill>
              <a:latin typeface="Arial" pitchFamily="34" charset="0"/>
              <a:ea typeface="Arial" pitchFamily="34" charset="-122"/>
              <a:cs typeface="Arial" pitchFamily="34" charset="-120"/>
            </a:endParaRPr>
          </a:p>
        </p:txBody>
      </p:sp>
    </p:spTree>
    <p:extLst>
      <p:ext uri="{BB962C8B-B14F-4D97-AF65-F5344CB8AC3E}">
        <p14:creationId xmlns:p14="http://schemas.microsoft.com/office/powerpoint/2010/main" val="31009952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574DC-9AC9-017E-F0CB-553E825E13A4}"/>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DC1D5EF9-139C-1CF2-63CE-DE2E3B6EC5C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5234" t="1" r="4884" b="-1569"/>
          <a:stretch>
            <a:fillRect/>
          </a:stretch>
        </p:blipFill>
        <p:spPr>
          <a:xfrm>
            <a:off x="0" y="0"/>
            <a:ext cx="6390042"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9" name="Billede 8" descr="Et billede, der indeholder tekst, Grafik, logo, grafisk design">
            <a:extLst>
              <a:ext uri="{FF2B5EF4-FFF2-40B4-BE49-F238E27FC236}">
                <a16:creationId xmlns:a16="http://schemas.microsoft.com/office/drawing/2014/main" id="{896032F5-6D16-4022-8939-D1B22D7FAE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6916" y="560001"/>
            <a:ext cx="3341619" cy="2998088"/>
          </a:xfrm>
          <a:prstGeom prst="rect">
            <a:avLst/>
          </a:prstGeom>
        </p:spPr>
      </p:pic>
      <p:sp>
        <p:nvSpPr>
          <p:cNvPr id="2" name="Titel 1">
            <a:extLst>
              <a:ext uri="{FF2B5EF4-FFF2-40B4-BE49-F238E27FC236}">
                <a16:creationId xmlns:a16="http://schemas.microsoft.com/office/drawing/2014/main" id="{4A128657-E56E-7CA2-2FFE-972EEDB6A29A}"/>
              </a:ext>
            </a:extLst>
          </p:cNvPr>
          <p:cNvSpPr>
            <a:spLocks noGrp="1"/>
          </p:cNvSpPr>
          <p:nvPr>
            <p:ph type="title"/>
          </p:nvPr>
        </p:nvSpPr>
        <p:spPr>
          <a:xfrm>
            <a:off x="7165197" y="4235632"/>
            <a:ext cx="6781800" cy="1338696"/>
          </a:xfrm>
        </p:spPr>
        <p:txBody>
          <a:bodyPr vert="horz" lIns="91440" tIns="45720" rIns="91440" bIns="45720" rtlCol="0" anchor="ctr">
            <a:normAutofit/>
          </a:bodyPr>
          <a:lstStyle/>
          <a:p>
            <a:r>
              <a:rPr lang="en-US" sz="6600" b="1"/>
              <a:t>REGNSKAB</a:t>
            </a:r>
          </a:p>
        </p:txBody>
      </p:sp>
    </p:spTree>
    <p:extLst>
      <p:ext uri="{BB962C8B-B14F-4D97-AF65-F5344CB8AC3E}">
        <p14:creationId xmlns:p14="http://schemas.microsoft.com/office/powerpoint/2010/main" val="250868698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9C8C1-354E-0546-F091-2D4A3B3BE7E4}"/>
            </a:ext>
          </a:extLst>
        </p:cNvPr>
        <p:cNvGrpSpPr/>
        <p:nvPr/>
      </p:nvGrpSpPr>
      <p:grpSpPr>
        <a:xfrm>
          <a:off x="0" y="0"/>
          <a:ext cx="0" cy="0"/>
          <a:chOff x="0" y="0"/>
          <a:chExt cx="0" cy="0"/>
        </a:xfrm>
      </p:grpSpPr>
      <p:pic>
        <p:nvPicPr>
          <p:cNvPr id="3" name="Billede 2" descr="Et billede, der indeholder tekst, Grafik, logo, grafisk design">
            <a:extLst>
              <a:ext uri="{FF2B5EF4-FFF2-40B4-BE49-F238E27FC236}">
                <a16:creationId xmlns:a16="http://schemas.microsoft.com/office/drawing/2014/main" id="{CB574318-488B-D8A1-C1DD-C7D68A443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8" name="Pladsholder til indhold 4">
            <a:extLst>
              <a:ext uri="{FF2B5EF4-FFF2-40B4-BE49-F238E27FC236}">
                <a16:creationId xmlns:a16="http://schemas.microsoft.com/office/drawing/2014/main" id="{9CB97249-06DF-DEAF-C2CE-F74A63452B85}"/>
              </a:ext>
            </a:extLst>
          </p:cNvPr>
          <p:cNvPicPr>
            <a:picLocks noChangeAspect="1"/>
          </p:cNvPicPr>
          <p:nvPr/>
        </p:nvPicPr>
        <p:blipFill>
          <a:blip r:embed="rId4">
            <a:extLst>
              <a:ext uri="{28A0092B-C50C-407E-A947-70E740481C1C}">
                <a14:useLocalDpi xmlns:a14="http://schemas.microsoft.com/office/drawing/2010/main" val="0"/>
              </a:ext>
            </a:extLst>
          </a:blip>
          <a:srcRect l="46141" r="4614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graphicFrame>
        <p:nvGraphicFramePr>
          <p:cNvPr id="11" name="Tabel 10">
            <a:extLst>
              <a:ext uri="{FF2B5EF4-FFF2-40B4-BE49-F238E27FC236}">
                <a16:creationId xmlns:a16="http://schemas.microsoft.com/office/drawing/2014/main" id="{21E6667C-90BA-5352-9255-8FA0AE9B9C4B}"/>
              </a:ext>
            </a:extLst>
          </p:cNvPr>
          <p:cNvGraphicFramePr>
            <a:graphicFrameLocks noGrp="1"/>
          </p:cNvGraphicFramePr>
          <p:nvPr>
            <p:extLst>
              <p:ext uri="{D42A27DB-BD31-4B8C-83A1-F6EECF244321}">
                <p14:modId xmlns:p14="http://schemas.microsoft.com/office/powerpoint/2010/main" val="1346676351"/>
              </p:ext>
            </p:extLst>
          </p:nvPr>
        </p:nvGraphicFramePr>
        <p:xfrm>
          <a:off x="1765598" y="1410788"/>
          <a:ext cx="9191522" cy="5059680"/>
        </p:xfrm>
        <a:graphic>
          <a:graphicData uri="http://schemas.openxmlformats.org/drawingml/2006/table">
            <a:tbl>
              <a:tblPr/>
              <a:tblGrid>
                <a:gridCol w="4072194">
                  <a:extLst>
                    <a:ext uri="{9D8B030D-6E8A-4147-A177-3AD203B41FA5}">
                      <a16:colId xmlns:a16="http://schemas.microsoft.com/office/drawing/2014/main" val="3422728778"/>
                    </a:ext>
                  </a:extLst>
                </a:gridCol>
                <a:gridCol w="1628877">
                  <a:extLst>
                    <a:ext uri="{9D8B030D-6E8A-4147-A177-3AD203B41FA5}">
                      <a16:colId xmlns:a16="http://schemas.microsoft.com/office/drawing/2014/main" val="77670355"/>
                    </a:ext>
                  </a:extLst>
                </a:gridCol>
                <a:gridCol w="1628877">
                  <a:extLst>
                    <a:ext uri="{9D8B030D-6E8A-4147-A177-3AD203B41FA5}">
                      <a16:colId xmlns:a16="http://schemas.microsoft.com/office/drawing/2014/main" val="426021389"/>
                    </a:ext>
                  </a:extLst>
                </a:gridCol>
                <a:gridCol w="1861574">
                  <a:extLst>
                    <a:ext uri="{9D8B030D-6E8A-4147-A177-3AD203B41FA5}">
                      <a16:colId xmlns:a16="http://schemas.microsoft.com/office/drawing/2014/main" val="2434822517"/>
                    </a:ext>
                  </a:extLst>
                </a:gridCol>
              </a:tblGrid>
              <a:tr h="613694">
                <a:tc>
                  <a:txBody>
                    <a:bodyPr/>
                    <a:lstStyle/>
                    <a:p>
                      <a:pPr marL="0" indent="0" algn="ctr">
                        <a:buNone/>
                      </a:pPr>
                      <a:r>
                        <a:rPr lang="en-US" sz="3600" b="1" dirty="0">
                          <a:solidFill>
                            <a:srgbClr val="FFFFFF"/>
                          </a:solidFill>
                          <a:latin typeface="Arial" pitchFamily="34" charset="0"/>
                          <a:ea typeface="Arial" pitchFamily="34" charset="-122"/>
                          <a:cs typeface="Arial" pitchFamily="34" charset="-120"/>
                        </a:rPr>
                        <a:t>INDTÆGTER</a:t>
                      </a:r>
                      <a:endParaRPr lang="en-US" sz="36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1800" b="1" dirty="0">
                          <a:solidFill>
                            <a:srgbClr val="FFFFFF"/>
                          </a:solidFill>
                          <a:latin typeface="Arial" pitchFamily="34" charset="0"/>
                          <a:ea typeface="Arial" pitchFamily="34" charset="-122"/>
                          <a:cs typeface="Arial" pitchFamily="34" charset="-120"/>
                        </a:rPr>
                        <a:t>REGNSKAB</a:t>
                      </a:r>
                      <a:r>
                        <a:rPr lang="en-US" sz="2000" b="1" dirty="0">
                          <a:solidFill>
                            <a:srgbClr val="FFFFFF"/>
                          </a:solidFill>
                          <a:latin typeface="Arial" pitchFamily="34" charset="0"/>
                          <a:ea typeface="Arial" pitchFamily="34" charset="-122"/>
                          <a:cs typeface="Arial" pitchFamily="34" charset="-120"/>
                        </a:rPr>
                        <a:t> 20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1800" b="1" dirty="0">
                          <a:solidFill>
                            <a:srgbClr val="FFFFFF"/>
                          </a:solidFill>
                          <a:latin typeface="Arial" pitchFamily="34" charset="0"/>
                          <a:ea typeface="Arial" pitchFamily="34" charset="-122"/>
                          <a:cs typeface="Arial" pitchFamily="34" charset="-120"/>
                        </a:rPr>
                        <a:t>REGNSKAB</a:t>
                      </a:r>
                    </a:p>
                    <a:p>
                      <a:pPr marL="0" indent="0" algn="ctr">
                        <a:buNone/>
                      </a:pPr>
                      <a:r>
                        <a:rPr lang="en-US" sz="2000" b="1" dirty="0">
                          <a:solidFill>
                            <a:srgbClr val="FFFFFF"/>
                          </a:solidFill>
                          <a:latin typeface="Arial" pitchFamily="34" charset="0"/>
                          <a:ea typeface="Arial" pitchFamily="34" charset="-122"/>
                          <a:cs typeface="Arial" pitchFamily="34" charset="-120"/>
                        </a:rPr>
                        <a:t>2024</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err="1">
                          <a:solidFill>
                            <a:srgbClr val="FFFFFF"/>
                          </a:solidFill>
                          <a:latin typeface="Arial" pitchFamily="34" charset="0"/>
                          <a:ea typeface="Arial" pitchFamily="34" charset="-122"/>
                          <a:cs typeface="Arial" pitchFamily="34" charset="-120"/>
                        </a:rPr>
                        <a:t>Afvigelse</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406878769"/>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Medlemskontingent</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6.080</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6.100</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20</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54351951"/>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Greenfee</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562</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450</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12</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62248090"/>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Sponsorindtægter</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537</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410</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27</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2123933"/>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Lejeindtægt</a:t>
                      </a:r>
                      <a:r>
                        <a:rPr lang="en-US" sz="2000" b="1" dirty="0">
                          <a:solidFill>
                            <a:srgbClr val="1F4E79"/>
                          </a:solidFill>
                          <a:latin typeface="Arial" pitchFamily="34" charset="0"/>
                          <a:ea typeface="Arial" pitchFamily="34" charset="-122"/>
                          <a:cs typeface="Arial" pitchFamily="34" charset="-120"/>
                        </a:rPr>
                        <a:t> buggy + driving r</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322</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236</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86</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00503120"/>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Lejeindtægt</a:t>
                      </a:r>
                      <a:r>
                        <a:rPr lang="en-US" sz="2000" b="1" dirty="0">
                          <a:solidFill>
                            <a:srgbClr val="1F4E79"/>
                          </a:solidFill>
                          <a:latin typeface="Arial" pitchFamily="34" charset="0"/>
                          <a:ea typeface="Arial" pitchFamily="34" charset="-122"/>
                          <a:cs typeface="Arial" pitchFamily="34" charset="-120"/>
                        </a:rPr>
                        <a:t> </a:t>
                      </a:r>
                      <a:r>
                        <a:rPr lang="en-US" sz="2000" b="1" dirty="0" err="1">
                          <a:solidFill>
                            <a:srgbClr val="1F4E79"/>
                          </a:solidFill>
                          <a:latin typeface="Arial" pitchFamily="34" charset="0"/>
                          <a:ea typeface="Arial" pitchFamily="34" charset="-122"/>
                          <a:cs typeface="Arial" pitchFamily="34" charset="-120"/>
                        </a:rPr>
                        <a:t>boliger</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72</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16</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44</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53683838"/>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Lejeindtægt</a:t>
                      </a:r>
                      <a:r>
                        <a:rPr lang="en-US" sz="2000" b="1" dirty="0">
                          <a:solidFill>
                            <a:srgbClr val="1F4E79"/>
                          </a:solidFill>
                          <a:latin typeface="Arial" pitchFamily="34" charset="0"/>
                          <a:ea typeface="Arial" pitchFamily="34" charset="-122"/>
                          <a:cs typeface="Arial" pitchFamily="34" charset="-120"/>
                        </a:rPr>
                        <a:t> cafe</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05</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87</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8</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87422445"/>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Tilskud</a:t>
                      </a:r>
                      <a:r>
                        <a:rPr lang="en-US" sz="2000" b="1" dirty="0">
                          <a:solidFill>
                            <a:srgbClr val="1F4E79"/>
                          </a:solidFill>
                          <a:latin typeface="Arial" pitchFamily="34" charset="0"/>
                          <a:ea typeface="Arial" pitchFamily="34" charset="-122"/>
                          <a:cs typeface="Arial" pitchFamily="34" charset="-120"/>
                        </a:rPr>
                        <a:t> </a:t>
                      </a:r>
                      <a:r>
                        <a:rPr lang="en-US" sz="2000" b="1" dirty="0" err="1">
                          <a:solidFill>
                            <a:srgbClr val="1F4E79"/>
                          </a:solidFill>
                          <a:latin typeface="Arial" pitchFamily="34" charset="0"/>
                          <a:ea typeface="Arial" pitchFamily="34" charset="-122"/>
                          <a:cs typeface="Arial" pitchFamily="34" charset="-120"/>
                        </a:rPr>
                        <a:t>kommunen</a:t>
                      </a:r>
                      <a:r>
                        <a:rPr lang="en-US" sz="2000" b="1" dirty="0">
                          <a:solidFill>
                            <a:srgbClr val="1F4E79"/>
                          </a:solidFill>
                          <a:latin typeface="Arial" pitchFamily="34" charset="0"/>
                          <a:ea typeface="Arial" pitchFamily="34" charset="-122"/>
                          <a:cs typeface="Arial" pitchFamily="34" charset="-120"/>
                        </a:rPr>
                        <a:t>/</a:t>
                      </a:r>
                      <a:r>
                        <a:rPr lang="en-US" sz="2000" b="1" dirty="0" err="1">
                          <a:solidFill>
                            <a:srgbClr val="1F4E79"/>
                          </a:solidFill>
                          <a:latin typeface="Arial" pitchFamily="34" charset="0"/>
                          <a:ea typeface="Arial" pitchFamily="34" charset="-122"/>
                          <a:cs typeface="Arial" pitchFamily="34" charset="-120"/>
                        </a:rPr>
                        <a:t>legater</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28</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7</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1</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85491148"/>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Matchfee</a:t>
                      </a:r>
                      <a:r>
                        <a:rPr lang="en-US" sz="2000" b="1" dirty="0">
                          <a:solidFill>
                            <a:srgbClr val="1F4E79"/>
                          </a:solidFill>
                          <a:latin typeface="Arial" pitchFamily="34" charset="0"/>
                          <a:ea typeface="Arial" pitchFamily="34" charset="-122"/>
                          <a:cs typeface="Arial" pitchFamily="34" charset="-120"/>
                        </a:rPr>
                        <a:t>/</a:t>
                      </a:r>
                      <a:r>
                        <a:rPr lang="en-US" sz="2000" b="1" dirty="0" err="1">
                          <a:solidFill>
                            <a:srgbClr val="1F4E79"/>
                          </a:solidFill>
                          <a:latin typeface="Arial" pitchFamily="34" charset="0"/>
                          <a:ea typeface="Arial" pitchFamily="34" charset="-122"/>
                          <a:cs typeface="Arial" pitchFamily="34" charset="-120"/>
                        </a:rPr>
                        <a:t>træning</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28</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8</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36</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3198496"/>
                  </a:ext>
                </a:extLst>
              </a:tr>
              <a:tr h="368216">
                <a:tc>
                  <a:txBody>
                    <a:bodyPr/>
                    <a:lstStyle/>
                    <a:p>
                      <a:pPr marL="0" indent="0" algn="l">
                        <a:buNone/>
                      </a:pPr>
                      <a:r>
                        <a:rPr lang="en-US" sz="2000" b="1" dirty="0">
                          <a:solidFill>
                            <a:srgbClr val="1F4E79"/>
                          </a:solidFill>
                          <a:latin typeface="Arial" pitchFamily="34" charset="0"/>
                          <a:ea typeface="Arial" pitchFamily="34" charset="-122"/>
                          <a:cs typeface="Arial" pitchFamily="34" charset="-120"/>
                        </a:rPr>
                        <a:t>Trackman</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75</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pitchFamily="34" charset="0"/>
                          <a:ea typeface="Arial" pitchFamily="34" charset="-122"/>
                          <a:cs typeface="Arial" pitchFamily="34" charset="-120"/>
                        </a:rPr>
                        <a:t>157</a:t>
                      </a:r>
                      <a:endParaRPr lang="en-US" sz="2000" b="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pitchFamily="34" charset="0"/>
                          <a:ea typeface="Arial" pitchFamily="34" charset="-122"/>
                          <a:cs typeface="Arial" pitchFamily="34" charset="-120"/>
                        </a:rPr>
                        <a:t>18</a:t>
                      </a:r>
                      <a:endParaRPr lang="en-US" sz="2000" b="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57861425"/>
                  </a:ext>
                </a:extLst>
              </a:tr>
              <a:tr h="368216">
                <a:tc>
                  <a:txBody>
                    <a:bodyPr/>
                    <a:lstStyle/>
                    <a:p>
                      <a:pPr marL="0" indent="0" algn="l">
                        <a:buNone/>
                      </a:pPr>
                      <a:r>
                        <a:rPr lang="en-US" sz="2000" b="1" dirty="0" err="1">
                          <a:solidFill>
                            <a:srgbClr val="1F4E79"/>
                          </a:solidFill>
                          <a:latin typeface="Arial" pitchFamily="34" charset="0"/>
                          <a:ea typeface="Arial" pitchFamily="34" charset="-122"/>
                          <a:cs typeface="Arial" pitchFamily="34" charset="-120"/>
                        </a:rPr>
                        <a:t>Jubilæum</a:t>
                      </a:r>
                      <a:endParaRPr lang="en-US" sz="20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b="0">
                          <a:solidFill>
                            <a:schemeClr val="tx1"/>
                          </a:solidFill>
                          <a:latin typeface="Arial" charset="0"/>
                          <a:ea typeface="Arial" charset="0"/>
                          <a:cs typeface="Arial" charset="0"/>
                        </a:rPr>
                        <a:t>65</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a:solidFill>
                            <a:schemeClr val="tx1"/>
                          </a:solidFill>
                          <a:latin typeface="Arial" charset="0"/>
                          <a:ea typeface="Arial" charset="0"/>
                          <a:cs typeface="Arial" charset="0"/>
                        </a:rPr>
                        <a:t>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b="0" dirty="0">
                          <a:solidFill>
                            <a:schemeClr val="tx1"/>
                          </a:solidFill>
                          <a:latin typeface="Arial" charset="0"/>
                          <a:ea typeface="Arial" charset="0"/>
                          <a:cs typeface="Arial" charset="0"/>
                        </a:rPr>
                        <a:t>65</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8688717"/>
                  </a:ext>
                </a:extLst>
              </a:tr>
              <a:tr h="368216">
                <a:tc>
                  <a:txBody>
                    <a:bodyPr/>
                    <a:lstStyle/>
                    <a:p>
                      <a:pPr marL="0" indent="0" algn="l">
                        <a:buNone/>
                      </a:pPr>
                      <a:r>
                        <a:rPr lang="en-US" sz="2000" b="1" dirty="0">
                          <a:solidFill>
                            <a:schemeClr val="bg1"/>
                          </a:solidFill>
                          <a:latin typeface="Arial" pitchFamily="34" charset="0"/>
                          <a:ea typeface="Arial" pitchFamily="34" charset="-122"/>
                          <a:cs typeface="Arial" pitchFamily="34" charset="-120"/>
                        </a:rPr>
                        <a:t>INDTÆGTER I ALT</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8.918</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8.581</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337</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668169154"/>
                  </a:ext>
                </a:extLst>
              </a:tr>
            </a:tbl>
          </a:graphicData>
        </a:graphic>
      </p:graphicFrame>
      <p:sp>
        <p:nvSpPr>
          <p:cNvPr id="14" name="Titel 1">
            <a:extLst>
              <a:ext uri="{FF2B5EF4-FFF2-40B4-BE49-F238E27FC236}">
                <a16:creationId xmlns:a16="http://schemas.microsoft.com/office/drawing/2014/main" id="{5AAA72A9-E327-06AB-EF06-F584A71D4B6B}"/>
              </a:ext>
            </a:extLst>
          </p:cNvPr>
          <p:cNvSpPr txBox="1">
            <a:spLocks/>
          </p:cNvSpPr>
          <p:nvPr/>
        </p:nvSpPr>
        <p:spPr>
          <a:xfrm>
            <a:off x="1300480" y="0"/>
            <a:ext cx="9191522" cy="1338696"/>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600" b="1"/>
              <a:t>REGNSKAB 2025 </a:t>
            </a:r>
            <a:r>
              <a:rPr lang="en-US" sz="5200" b="1" i="1"/>
              <a:t>KONTRA 2024</a:t>
            </a:r>
            <a:endParaRPr lang="en-US" sz="5600" b="1" i="1"/>
          </a:p>
        </p:txBody>
      </p:sp>
    </p:spTree>
    <p:extLst>
      <p:ext uri="{BB962C8B-B14F-4D97-AF65-F5344CB8AC3E}">
        <p14:creationId xmlns:p14="http://schemas.microsoft.com/office/powerpoint/2010/main" val="203722233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BBA72-CADE-2CC3-E235-4A56DCDEF5EB}"/>
            </a:ext>
          </a:extLst>
        </p:cNvPr>
        <p:cNvGrpSpPr/>
        <p:nvPr/>
      </p:nvGrpSpPr>
      <p:grpSpPr>
        <a:xfrm>
          <a:off x="0" y="0"/>
          <a:ext cx="0" cy="0"/>
          <a:chOff x="0" y="0"/>
          <a:chExt cx="0" cy="0"/>
        </a:xfrm>
      </p:grpSpPr>
      <p:pic>
        <p:nvPicPr>
          <p:cNvPr id="3" name="Billede 2" descr="Et billede, der indeholder tekst, Grafik, logo, grafisk design">
            <a:extLst>
              <a:ext uri="{FF2B5EF4-FFF2-40B4-BE49-F238E27FC236}">
                <a16:creationId xmlns:a16="http://schemas.microsoft.com/office/drawing/2014/main" id="{8DB94DE6-5265-9295-F7DF-BA26849D23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77836" y="197032"/>
            <a:ext cx="1078927" cy="968009"/>
          </a:xfrm>
          <a:prstGeom prst="rect">
            <a:avLst/>
          </a:prstGeom>
        </p:spPr>
      </p:pic>
      <p:pic>
        <p:nvPicPr>
          <p:cNvPr id="8" name="Pladsholder til indhold 4">
            <a:extLst>
              <a:ext uri="{FF2B5EF4-FFF2-40B4-BE49-F238E27FC236}">
                <a16:creationId xmlns:a16="http://schemas.microsoft.com/office/drawing/2014/main" id="{54BD47DC-5BEA-167E-1E59-A44DCE783511}"/>
              </a:ext>
            </a:extLst>
          </p:cNvPr>
          <p:cNvPicPr>
            <a:picLocks noChangeAspect="1"/>
          </p:cNvPicPr>
          <p:nvPr/>
        </p:nvPicPr>
        <p:blipFill>
          <a:blip r:embed="rId4">
            <a:extLst>
              <a:ext uri="{28A0092B-C50C-407E-A947-70E740481C1C}">
                <a14:useLocalDpi xmlns:a14="http://schemas.microsoft.com/office/drawing/2010/main" val="0"/>
              </a:ext>
            </a:extLst>
          </a:blip>
          <a:srcRect l="46141" r="4614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graphicFrame>
        <p:nvGraphicFramePr>
          <p:cNvPr id="11" name="Table 0">
            <a:extLst>
              <a:ext uri="{FF2B5EF4-FFF2-40B4-BE49-F238E27FC236}">
                <a16:creationId xmlns:a16="http://schemas.microsoft.com/office/drawing/2014/main" id="{41E64FF8-114D-C273-22C9-BE19208FE45F}"/>
              </a:ext>
            </a:extLst>
          </p:cNvPr>
          <p:cNvGraphicFramePr>
            <a:graphicFrameLocks noGrp="1"/>
          </p:cNvGraphicFramePr>
          <p:nvPr>
            <p:extLst>
              <p:ext uri="{D42A27DB-BD31-4B8C-83A1-F6EECF244321}">
                <p14:modId xmlns:p14="http://schemas.microsoft.com/office/powerpoint/2010/main" val="701491007"/>
              </p:ext>
            </p:extLst>
          </p:nvPr>
        </p:nvGraphicFramePr>
        <p:xfrm>
          <a:off x="1295401" y="19232"/>
          <a:ext cx="9518935" cy="6797040"/>
        </p:xfrm>
        <a:graphic>
          <a:graphicData uri="http://schemas.openxmlformats.org/drawingml/2006/table">
            <a:tbl>
              <a:tblPr/>
              <a:tblGrid>
                <a:gridCol w="4471892">
                  <a:extLst>
                    <a:ext uri="{9D8B030D-6E8A-4147-A177-3AD203B41FA5}">
                      <a16:colId xmlns:a16="http://schemas.microsoft.com/office/drawing/2014/main" val="20000"/>
                    </a:ext>
                  </a:extLst>
                </a:gridCol>
                <a:gridCol w="1513385">
                  <a:extLst>
                    <a:ext uri="{9D8B030D-6E8A-4147-A177-3AD203B41FA5}">
                      <a16:colId xmlns:a16="http://schemas.microsoft.com/office/drawing/2014/main" val="20001"/>
                    </a:ext>
                  </a:extLst>
                </a:gridCol>
                <a:gridCol w="1581056">
                  <a:extLst>
                    <a:ext uri="{9D8B030D-6E8A-4147-A177-3AD203B41FA5}">
                      <a16:colId xmlns:a16="http://schemas.microsoft.com/office/drawing/2014/main" val="20002"/>
                    </a:ext>
                  </a:extLst>
                </a:gridCol>
                <a:gridCol w="1952602">
                  <a:extLst>
                    <a:ext uri="{9D8B030D-6E8A-4147-A177-3AD203B41FA5}">
                      <a16:colId xmlns:a16="http://schemas.microsoft.com/office/drawing/2014/main" val="20004"/>
                    </a:ext>
                  </a:extLst>
                </a:gridCol>
              </a:tblGrid>
              <a:tr h="356679">
                <a:tc>
                  <a:txBody>
                    <a:bodyPr/>
                    <a:lstStyle/>
                    <a:p>
                      <a:pPr marL="0" indent="0" algn="ctr">
                        <a:buNone/>
                      </a:pPr>
                      <a:r>
                        <a:rPr lang="en-US" sz="3200" b="1" dirty="0">
                          <a:solidFill>
                            <a:srgbClr val="FFFFFF"/>
                          </a:solidFill>
                          <a:latin typeface="Arial" pitchFamily="34" charset="0"/>
                          <a:ea typeface="Arial" pitchFamily="34" charset="-122"/>
                          <a:cs typeface="Arial" pitchFamily="34" charset="-120"/>
                        </a:rPr>
                        <a:t>UDGIFTER/RESULTAT</a:t>
                      </a:r>
                      <a:endParaRPr lang="en-US" sz="32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4</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err="1">
                          <a:solidFill>
                            <a:srgbClr val="FFFFFF"/>
                          </a:solidFill>
                          <a:latin typeface="Arial" pitchFamily="34" charset="0"/>
                          <a:ea typeface="Arial" pitchFamily="34" charset="-122"/>
                          <a:cs typeface="Arial" pitchFamily="34" charset="-120"/>
                        </a:rPr>
                        <a:t>Afvigelse</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Banedrif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149</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3.608</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541</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Ejendom</a:t>
                      </a:r>
                      <a:r>
                        <a:rPr lang="en-US" sz="1800" b="1" dirty="0">
                          <a:solidFill>
                            <a:srgbClr val="1F4E79"/>
                          </a:solidFill>
                          <a:latin typeface="Arial" pitchFamily="34" charset="0"/>
                          <a:ea typeface="Arial" pitchFamily="34" charset="-122"/>
                          <a:cs typeface="Arial" pitchFamily="34" charset="-120"/>
                        </a:rPr>
                        <a:t>/</a:t>
                      </a:r>
                      <a:r>
                        <a:rPr lang="en-US" sz="1800" b="1" dirty="0" err="1">
                          <a:solidFill>
                            <a:srgbClr val="1F4E79"/>
                          </a:solidFill>
                          <a:latin typeface="Arial" pitchFamily="34" charset="0"/>
                          <a:ea typeface="Arial" pitchFamily="34" charset="-122"/>
                          <a:cs typeface="Arial" pitchFamily="34" charset="-120"/>
                        </a:rPr>
                        <a:t>klubhusdrift</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i</a:t>
                      </a:r>
                      <a:r>
                        <a:rPr lang="en-US" sz="1800" b="1" dirty="0">
                          <a:solidFill>
                            <a:srgbClr val="1F4E79"/>
                          </a:solidFill>
                          <a:latin typeface="Arial" pitchFamily="34" charset="0"/>
                          <a:ea typeface="Arial" pitchFamily="34" charset="-122"/>
                          <a:cs typeface="Arial" pitchFamily="34" charset="-120"/>
                        </a:rPr>
                        <a:t> al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01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74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265</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Kontingent</a:t>
                      </a:r>
                      <a:r>
                        <a:rPr lang="en-US" sz="1800" b="1" dirty="0">
                          <a:solidFill>
                            <a:srgbClr val="1F4E79"/>
                          </a:solidFill>
                          <a:latin typeface="Arial" pitchFamily="34" charset="0"/>
                          <a:ea typeface="Arial" pitchFamily="34" charset="-122"/>
                          <a:cs typeface="Arial" pitchFamily="34" charset="-120"/>
                        </a:rPr>
                        <a:t> DGU</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202</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87</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15</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Administration/</a:t>
                      </a:r>
                      <a:r>
                        <a:rPr lang="en-US" sz="1800" b="1" dirty="0" err="1">
                          <a:solidFill>
                            <a:srgbClr val="1F4E79"/>
                          </a:solidFill>
                          <a:latin typeface="Arial" pitchFamily="34" charset="0"/>
                          <a:ea typeface="Arial" pitchFamily="34" charset="-122"/>
                          <a:cs typeface="Arial" pitchFamily="34" charset="-120"/>
                        </a:rPr>
                        <a:t>sekr</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i</a:t>
                      </a:r>
                      <a:r>
                        <a:rPr lang="en-US" sz="1800" b="1" dirty="0">
                          <a:solidFill>
                            <a:srgbClr val="1F4E79"/>
                          </a:solidFill>
                          <a:latin typeface="Arial" pitchFamily="34" charset="0"/>
                          <a:ea typeface="Arial" pitchFamily="34" charset="-122"/>
                          <a:cs typeface="Arial" pitchFamily="34" charset="-120"/>
                        </a:rPr>
                        <a:t> al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2.067</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948</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119</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2301">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Sportslige</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aktivitet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112</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6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Markedsfør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charset="0"/>
                          <a:ea typeface="Arial" charset="0"/>
                          <a:cs typeface="Arial" charset="0"/>
                        </a:rPr>
                        <a:t>51</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charset="0"/>
                          <a:ea typeface="Arial" charset="0"/>
                          <a:cs typeface="Arial" charset="0"/>
                        </a:rPr>
                        <a:t>4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charset="0"/>
                          <a:ea typeface="Arial" charset="0"/>
                          <a:cs typeface="Arial" charset="0"/>
                        </a:rPr>
                        <a:t>-11</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6497">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UDGIFTER I ALT</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7.592</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6.59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997</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extLst>
                  <a:ext uri="{0D108BD9-81ED-4DB2-BD59-A6C34878D82A}">
                    <a16:rowId xmlns:a16="http://schemas.microsoft.com/office/drawing/2014/main" val="10007"/>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Ydelse</a:t>
                      </a:r>
                      <a:r>
                        <a:rPr lang="en-US" sz="1800" b="1" dirty="0">
                          <a:solidFill>
                            <a:srgbClr val="1F4E79"/>
                          </a:solidFill>
                          <a:latin typeface="Arial" pitchFamily="34" charset="0"/>
                          <a:ea typeface="Arial" pitchFamily="34" charset="-122"/>
                          <a:cs typeface="Arial" pitchFamily="34" charset="-120"/>
                        </a:rPr>
                        <a:t> leas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754</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78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2</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6497">
                <a:tc>
                  <a:txBody>
                    <a:bodyPr/>
                    <a:lstStyle/>
                    <a:p>
                      <a:pPr marL="0" indent="0" algn="l" defTabSz="914400" rtl="0" eaLnBrk="1" latinLnBrk="0" hangingPunct="1">
                        <a:buNone/>
                      </a:pPr>
                      <a:r>
                        <a:rPr lang="en-US" sz="1800" b="1" kern="1200" dirty="0" err="1">
                          <a:solidFill>
                            <a:srgbClr val="1F4E79"/>
                          </a:solidFill>
                          <a:latin typeface="Arial" pitchFamily="34" charset="0"/>
                          <a:ea typeface="Arial" pitchFamily="34" charset="-122"/>
                          <a:cs typeface="Arial" pitchFamily="34" charset="-120"/>
                        </a:rPr>
                        <a:t>Resultat</a:t>
                      </a:r>
                      <a:r>
                        <a:rPr lang="en-US" sz="1800" b="1" kern="1200" dirty="0">
                          <a:solidFill>
                            <a:srgbClr val="1F4E79"/>
                          </a:solidFill>
                          <a:latin typeface="Arial" pitchFamily="34" charset="0"/>
                          <a:ea typeface="Arial" pitchFamily="34" charset="-122"/>
                          <a:cs typeface="Arial" pitchFamily="34" charset="-120"/>
                        </a:rPr>
                        <a:t> f. </a:t>
                      </a:r>
                      <a:r>
                        <a:rPr lang="en-US" sz="1800" b="1" kern="1200" dirty="0" err="1">
                          <a:solidFill>
                            <a:srgbClr val="1F4E79"/>
                          </a:solidFill>
                          <a:latin typeface="Arial" pitchFamily="34" charset="0"/>
                          <a:ea typeface="Arial" pitchFamily="34" charset="-122"/>
                          <a:cs typeface="Arial" pitchFamily="34" charset="-120"/>
                        </a:rPr>
                        <a:t>rente</a:t>
                      </a:r>
                      <a:r>
                        <a:rPr lang="en-US" sz="1800" b="1" kern="1200" dirty="0">
                          <a:solidFill>
                            <a:srgbClr val="1F4E79"/>
                          </a:solidFill>
                          <a:latin typeface="Arial" pitchFamily="34" charset="0"/>
                          <a:ea typeface="Arial" pitchFamily="34" charset="-122"/>
                          <a:cs typeface="Arial" pitchFamily="34" charset="-120"/>
                        </a:rPr>
                        <a:t> </a:t>
                      </a:r>
                      <a:r>
                        <a:rPr lang="en-US" sz="1800" b="1" kern="1200" dirty="0" err="1">
                          <a:solidFill>
                            <a:srgbClr val="1F4E79"/>
                          </a:solidFill>
                          <a:latin typeface="Arial" pitchFamily="34" charset="0"/>
                          <a:ea typeface="Arial" pitchFamily="34" charset="-122"/>
                          <a:cs typeface="Arial" pitchFamily="34" charset="-120"/>
                        </a:rPr>
                        <a:t>og</a:t>
                      </a:r>
                      <a:r>
                        <a:rPr lang="en-US" sz="1800" b="1" kern="1200" dirty="0">
                          <a:solidFill>
                            <a:srgbClr val="1F4E79"/>
                          </a:solidFill>
                          <a:latin typeface="Arial" pitchFamily="34" charset="0"/>
                          <a:ea typeface="Arial" pitchFamily="34" charset="-122"/>
                          <a:cs typeface="Arial" pitchFamily="34" charset="-120"/>
                        </a:rPr>
                        <a:t> </a:t>
                      </a:r>
                      <a:r>
                        <a:rPr lang="en-US" sz="1800" b="1" kern="1200" dirty="0" err="1">
                          <a:solidFill>
                            <a:srgbClr val="1F4E79"/>
                          </a:solidFill>
                          <a:latin typeface="Arial" pitchFamily="34" charset="0"/>
                          <a:ea typeface="Arial" pitchFamily="34" charset="-122"/>
                          <a:cs typeface="Arial" pitchFamily="34" charset="-120"/>
                        </a:rPr>
                        <a:t>afskrivninger</a:t>
                      </a:r>
                      <a:endParaRPr lang="en-US" sz="18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defTabSz="914400" rtl="0" eaLnBrk="1" latinLnBrk="0" hangingPunct="1">
                        <a:buNone/>
                      </a:pPr>
                      <a:r>
                        <a:rPr lang="en-US" sz="1800" b="1" kern="1200" dirty="0">
                          <a:solidFill>
                            <a:schemeClr val="tx1"/>
                          </a:solidFill>
                          <a:latin typeface="Arial" pitchFamily="34" charset="0"/>
                          <a:ea typeface="Arial" pitchFamily="34" charset="-122"/>
                          <a:cs typeface="Arial" pitchFamily="34" charset="-120"/>
                        </a:rPr>
                        <a:t>572</a:t>
                      </a:r>
                      <a:endParaRPr lang="en-US" sz="1800" b="1"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defTabSz="914400" rtl="0" eaLnBrk="1" latinLnBrk="0" hangingPunct="1">
                        <a:buNone/>
                      </a:pPr>
                      <a:r>
                        <a:rPr lang="en-US" sz="1800" b="1" kern="1200" dirty="0">
                          <a:solidFill>
                            <a:schemeClr val="tx1"/>
                          </a:solidFill>
                          <a:latin typeface="Arial" pitchFamily="34" charset="0"/>
                          <a:ea typeface="Arial" charset="0"/>
                          <a:cs typeface="Arial" pitchFamily="34" charset="-120"/>
                        </a:rPr>
                        <a:t>1.20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defTabSz="914400" rtl="0" eaLnBrk="1" latinLnBrk="0" hangingPunct="1">
                        <a:buNone/>
                      </a:pPr>
                      <a:r>
                        <a:rPr lang="en-US" sz="1800" b="1" kern="1200" dirty="0">
                          <a:solidFill>
                            <a:schemeClr val="tx1"/>
                          </a:solidFill>
                          <a:latin typeface="Arial" pitchFamily="34" charset="0"/>
                          <a:ea typeface="Arial" charset="0"/>
                          <a:cs typeface="Arial" pitchFamily="34" charset="-120"/>
                        </a:rPr>
                        <a:t>-628</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3574054663"/>
                  </a:ext>
                </a:extLst>
              </a:tr>
              <a:tr h="296497">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Afskrivninger</a:t>
                      </a:r>
                      <a:r>
                        <a:rPr lang="en-US" sz="1800" b="1" dirty="0">
                          <a:solidFill>
                            <a:srgbClr val="1F4E79"/>
                          </a:solidFill>
                          <a:latin typeface="Arial" pitchFamily="34" charset="0"/>
                          <a:ea typeface="Arial" pitchFamily="34" charset="-122"/>
                          <a:cs typeface="Arial" pitchFamily="34" charset="-120"/>
                        </a:rPr>
                        <a:t> inv. </a:t>
                      </a:r>
                      <a:r>
                        <a:rPr lang="en-US" sz="1800" b="1" dirty="0" err="1">
                          <a:solidFill>
                            <a:srgbClr val="1F4E79"/>
                          </a:solidFill>
                          <a:latin typeface="Arial" pitchFamily="34" charset="0"/>
                          <a:ea typeface="Arial" pitchFamily="34" charset="-122"/>
                          <a:cs typeface="Arial" pitchFamily="34" charset="-120"/>
                        </a:rPr>
                        <a:t>o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maskin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5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0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296497">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Afdrag </a:t>
                      </a:r>
                      <a:r>
                        <a:rPr lang="en-US" sz="1800" b="1" dirty="0" err="1">
                          <a:solidFill>
                            <a:srgbClr val="1F4E79"/>
                          </a:solidFill>
                          <a:latin typeface="Arial" pitchFamily="34" charset="0"/>
                          <a:ea typeface="Arial" pitchFamily="34" charset="-122"/>
                          <a:cs typeface="Arial" pitchFamily="34" charset="-120"/>
                        </a:rPr>
                        <a:t>lån</a:t>
                      </a:r>
                      <a:r>
                        <a:rPr lang="en-US" sz="1800" b="1" dirty="0">
                          <a:solidFill>
                            <a:srgbClr val="1F4E79"/>
                          </a:solidFill>
                          <a:latin typeface="Arial" pitchFamily="34" charset="0"/>
                          <a:ea typeface="Arial" pitchFamily="34" charset="-122"/>
                          <a:cs typeface="Arial" pitchFamily="34" charset="-120"/>
                        </a:rPr>
                        <a:t> = </a:t>
                      </a:r>
                      <a:r>
                        <a:rPr lang="en-US" sz="1800" b="1" dirty="0" err="1">
                          <a:solidFill>
                            <a:srgbClr val="1F4E79"/>
                          </a:solidFill>
                          <a:latin typeface="Arial" pitchFamily="34" charset="0"/>
                          <a:ea typeface="Arial" pitchFamily="34" charset="-122"/>
                          <a:cs typeface="Arial" pitchFamily="34" charset="-120"/>
                        </a:rPr>
                        <a:t>by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Afskrivn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9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94</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296497">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Rente </a:t>
                      </a:r>
                      <a:r>
                        <a:rPr lang="en-US" sz="1800" b="1" dirty="0" err="1">
                          <a:solidFill>
                            <a:srgbClr val="1F4E79"/>
                          </a:solidFill>
                          <a:latin typeface="Arial" pitchFamily="34" charset="0"/>
                          <a:ea typeface="Arial" pitchFamily="34" charset="-122"/>
                          <a:cs typeface="Arial" pitchFamily="34" charset="-120"/>
                        </a:rPr>
                        <a:t>o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bidra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330</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386</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5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1"/>
                  </a:ext>
                </a:extLst>
              </a:tr>
              <a:tr h="296497">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RESULTAT</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50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37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87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555323275"/>
                  </a:ext>
                </a:extLst>
              </a:tr>
              <a:tr h="296497">
                <a:tc>
                  <a:txBody>
                    <a:bodyPr/>
                    <a:lstStyle/>
                    <a:p>
                      <a:pPr marL="0" indent="0" algn="l" defTabSz="914400" rtl="0" eaLnBrk="1" latinLnBrk="0" hangingPunct="1">
                        <a:buNone/>
                      </a:pPr>
                      <a:r>
                        <a:rPr lang="en-US" sz="1800" b="1" kern="1200" dirty="0" err="1">
                          <a:solidFill>
                            <a:srgbClr val="1F4E79"/>
                          </a:solidFill>
                          <a:latin typeface="Arial" pitchFamily="34" charset="0"/>
                          <a:ea typeface="Arial" pitchFamily="34" charset="-122"/>
                          <a:cs typeface="Arial" pitchFamily="34" charset="-120"/>
                        </a:rPr>
                        <a:t>Ekstraordinære</a:t>
                      </a:r>
                      <a:endParaRPr lang="en-US" sz="18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defTabSz="914400" rtl="0" eaLnBrk="1" latinLnBrk="0" hangingPunct="1">
                        <a:buNone/>
                      </a:pPr>
                      <a:r>
                        <a:rPr lang="en-US" sz="1800" kern="1200" dirty="0">
                          <a:solidFill>
                            <a:schemeClr val="tx1"/>
                          </a:solidFill>
                          <a:latin typeface="Arial" pitchFamily="34" charset="0"/>
                          <a:ea typeface="Arial" pitchFamily="34" charset="-122"/>
                          <a:cs typeface="Arial" pitchFamily="34" charset="-120"/>
                        </a:rPr>
                        <a:t>149</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dirty="0">
                          <a:solidFill>
                            <a:schemeClr val="tx1"/>
                          </a:solidFill>
                          <a:latin typeface="Arial" pitchFamily="34" charset="0"/>
                          <a:ea typeface="Arial" pitchFamily="34" charset="-122"/>
                          <a:cs typeface="Arial" pitchFamily="34" charset="-120"/>
                        </a:rPr>
                        <a:t>163</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dirty="0">
                          <a:solidFill>
                            <a:schemeClr val="tx1"/>
                          </a:solidFill>
                          <a:latin typeface="Arial" pitchFamily="34" charset="0"/>
                          <a:ea typeface="Arial" pitchFamily="34" charset="-122"/>
                          <a:cs typeface="Arial" pitchFamily="34" charset="-120"/>
                        </a:rPr>
                        <a:t>-14</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03731058"/>
                  </a:ext>
                </a:extLst>
              </a:tr>
              <a:tr h="296497">
                <a:tc>
                  <a:txBody>
                    <a:bodyPr/>
                    <a:lstStyle/>
                    <a:p>
                      <a:pPr marL="0" indent="0" algn="l" defTabSz="914400" rtl="0" eaLnBrk="1" latinLnBrk="0" hangingPunct="1">
                        <a:buNone/>
                      </a:pPr>
                      <a:r>
                        <a:rPr lang="en-US" sz="1800" b="1" kern="1200" dirty="0" err="1">
                          <a:solidFill>
                            <a:srgbClr val="1F4E79"/>
                          </a:solidFill>
                          <a:latin typeface="Arial" pitchFamily="34" charset="0"/>
                          <a:ea typeface="Arial" pitchFamily="34" charset="-122"/>
                          <a:cs typeface="Arial" pitchFamily="34" charset="-120"/>
                        </a:rPr>
                        <a:t>Indskud</a:t>
                      </a:r>
                      <a:r>
                        <a:rPr lang="en-US" sz="1800" b="1" kern="1200" dirty="0">
                          <a:solidFill>
                            <a:srgbClr val="1F4E79"/>
                          </a:solidFill>
                          <a:latin typeface="Arial" pitchFamily="34" charset="0"/>
                          <a:ea typeface="Arial" pitchFamily="34" charset="-122"/>
                          <a:cs typeface="Arial" pitchFamily="34" charset="-120"/>
                        </a:rPr>
                        <a:t> </a:t>
                      </a:r>
                      <a:r>
                        <a:rPr lang="en-US" sz="1800" b="1" kern="1200" dirty="0" err="1">
                          <a:solidFill>
                            <a:srgbClr val="1F4E79"/>
                          </a:solidFill>
                          <a:latin typeface="Arial" pitchFamily="34" charset="0"/>
                          <a:ea typeface="Arial" pitchFamily="34" charset="-122"/>
                          <a:cs typeface="Arial" pitchFamily="34" charset="-120"/>
                        </a:rPr>
                        <a:t>medlemmer</a:t>
                      </a:r>
                      <a:endParaRPr lang="en-US" sz="18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l" defTabSz="914400" rtl="0" eaLnBrk="1" latinLnBrk="0" hangingPunct="1">
                        <a:buNone/>
                      </a:pP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dirty="0">
                          <a:solidFill>
                            <a:schemeClr val="tx1"/>
                          </a:solidFill>
                          <a:latin typeface="Arial" pitchFamily="34" charset="0"/>
                          <a:ea typeface="Arial" pitchFamily="34" charset="-122"/>
                          <a:cs typeface="Arial" pitchFamily="34" charset="-120"/>
                        </a:rPr>
                        <a:t>0</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dirty="0">
                          <a:solidFill>
                            <a:schemeClr val="tx1"/>
                          </a:solidFill>
                          <a:latin typeface="Arial" pitchFamily="34" charset="0"/>
                          <a:ea typeface="Arial" pitchFamily="34" charset="-122"/>
                          <a:cs typeface="Arial" pitchFamily="34" charset="-120"/>
                        </a:rPr>
                        <a:t>0</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6673731"/>
                  </a:ext>
                </a:extLst>
              </a:tr>
              <a:tr h="296497">
                <a:tc>
                  <a:txBody>
                    <a:bodyPr/>
                    <a:lstStyle/>
                    <a:p>
                      <a:pPr marL="0" indent="0" algn="l" defTabSz="914400" rtl="0" eaLnBrk="1" latinLnBrk="0" hangingPunct="1">
                        <a:buNone/>
                      </a:pPr>
                      <a:r>
                        <a:rPr lang="en-US" sz="1800" b="1" kern="1200" dirty="0" err="1">
                          <a:solidFill>
                            <a:srgbClr val="1F4E79"/>
                          </a:solidFill>
                          <a:latin typeface="Arial"/>
                          <a:ea typeface="Arial" charset="0"/>
                          <a:cs typeface="Arial"/>
                        </a:rPr>
                        <a:t>Hensættelser</a:t>
                      </a:r>
                      <a:endParaRPr lang="en-US" sz="18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defTabSz="914400" rtl="0" eaLnBrk="1" latinLnBrk="0" hangingPunct="1">
                        <a:buNone/>
                      </a:pPr>
                      <a:r>
                        <a:rPr lang="en-US" sz="1800" kern="1200">
                          <a:solidFill>
                            <a:schemeClr val="tx1"/>
                          </a:solidFill>
                          <a:latin typeface="Arial"/>
                          <a:ea typeface="Arial" charset="0"/>
                          <a:cs typeface="Arial"/>
                        </a:rPr>
                        <a:t>525</a:t>
                      </a:r>
                      <a:endParaRPr lang="en-US" sz="1800" kern="120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dirty="0">
                          <a:solidFill>
                            <a:schemeClr val="tx1"/>
                          </a:solidFill>
                          <a:latin typeface="Arial"/>
                          <a:ea typeface="Arial" charset="0"/>
                          <a:cs typeface="Arial"/>
                        </a:rPr>
                        <a:t>-350</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lvl="0" indent="0" algn="ctr" defTabSz="914400">
                        <a:buNone/>
                      </a:pPr>
                      <a:r>
                        <a:rPr lang="en-US" sz="1800" kern="1200" dirty="0">
                          <a:solidFill>
                            <a:schemeClr val="tx1"/>
                          </a:solidFill>
                          <a:latin typeface="Arial"/>
                          <a:ea typeface="Arial" charset="0"/>
                          <a:cs typeface="Arial"/>
                        </a:rPr>
                        <a:t>875</a:t>
                      </a:r>
                      <a:endParaRPr lang="en-US" sz="1800" kern="1200" dirty="0">
                        <a:solidFill>
                          <a:schemeClr val="tx1"/>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1255471"/>
                  </a:ext>
                </a:extLst>
              </a:tr>
              <a:tr h="296497">
                <a:tc>
                  <a:txBody>
                    <a:bodyPr/>
                    <a:lstStyle/>
                    <a:p>
                      <a:pPr marL="0" indent="0" algn="l">
                        <a:buNone/>
                      </a:pPr>
                      <a:r>
                        <a:rPr lang="en-US" sz="1800" b="1" dirty="0" err="1">
                          <a:solidFill>
                            <a:schemeClr val="bg1"/>
                          </a:solidFill>
                          <a:latin typeface="Arial" pitchFamily="34" charset="0"/>
                          <a:ea typeface="Arial" pitchFamily="34" charset="-122"/>
                          <a:cs typeface="Arial" pitchFamily="34" charset="-120"/>
                        </a:rPr>
                        <a:t>Driftsresultat</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a:ea typeface="Arial" charset="0"/>
                          <a:cs typeface="Arial"/>
                        </a:rPr>
                        <a:t>174</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a:ea typeface="Arial" charset="0"/>
                          <a:cs typeface="Arial"/>
                        </a:rPr>
                        <a:t>188</a:t>
                      </a:r>
                      <a:endParaRPr lang="en-US" sz="1800" dirty="0">
                        <a:solidFill>
                          <a:schemeClr val="bg1"/>
                        </a:solidFill>
                        <a:latin typeface="Arial"/>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a:ea typeface="Arial" pitchFamily="34" charset="-122"/>
                          <a:cs typeface="Arial"/>
                        </a:rPr>
                        <a:t>-14</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71102741"/>
                  </a:ext>
                </a:extLst>
              </a:tr>
            </a:tbl>
          </a:graphicData>
        </a:graphic>
      </p:graphicFrame>
    </p:spTree>
    <p:extLst>
      <p:ext uri="{BB962C8B-B14F-4D97-AF65-F5344CB8AC3E}">
        <p14:creationId xmlns:p14="http://schemas.microsoft.com/office/powerpoint/2010/main" val="26935919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F8221-D0A8-678F-F412-FD26DE08E2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B8D5CF7-36BD-6791-8856-8DA5BB1B90DE}"/>
              </a:ext>
            </a:extLst>
          </p:cNvPr>
          <p:cNvSpPr>
            <a:spLocks noGrp="1"/>
          </p:cNvSpPr>
          <p:nvPr>
            <p:ph type="title"/>
          </p:nvPr>
        </p:nvSpPr>
        <p:spPr>
          <a:xfrm>
            <a:off x="1323196" y="-120703"/>
            <a:ext cx="7871603" cy="1338696"/>
          </a:xfrm>
        </p:spPr>
        <p:txBody>
          <a:bodyPr vert="horz" lIns="91440" tIns="45720" rIns="91440" bIns="45720" rtlCol="0" anchor="ctr">
            <a:normAutofit/>
          </a:bodyPr>
          <a:lstStyle/>
          <a:p>
            <a:r>
              <a:rPr lang="en-US" sz="6600" b="1"/>
              <a:t>BALANCE 31/12 2025</a:t>
            </a:r>
          </a:p>
        </p:txBody>
      </p:sp>
      <p:pic>
        <p:nvPicPr>
          <p:cNvPr id="3" name="Billede 2" descr="Et billede, der indeholder tekst, Grafik, logo, grafisk design">
            <a:extLst>
              <a:ext uri="{FF2B5EF4-FFF2-40B4-BE49-F238E27FC236}">
                <a16:creationId xmlns:a16="http://schemas.microsoft.com/office/drawing/2014/main" id="{B2EDDC16-91ED-2374-ECFF-27BCFE3ED1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graphicFrame>
        <p:nvGraphicFramePr>
          <p:cNvPr id="11" name="Table 0">
            <a:extLst>
              <a:ext uri="{FF2B5EF4-FFF2-40B4-BE49-F238E27FC236}">
                <a16:creationId xmlns:a16="http://schemas.microsoft.com/office/drawing/2014/main" id="{EFD1D210-B35F-79B7-5B43-FB4B4452F8D4}"/>
              </a:ext>
            </a:extLst>
          </p:cNvPr>
          <p:cNvGraphicFramePr>
            <a:graphicFrameLocks noGrp="1"/>
          </p:cNvGraphicFramePr>
          <p:nvPr>
            <p:extLst>
              <p:ext uri="{D42A27DB-BD31-4B8C-83A1-F6EECF244321}">
                <p14:modId xmlns:p14="http://schemas.microsoft.com/office/powerpoint/2010/main" val="3294231039"/>
              </p:ext>
            </p:extLst>
          </p:nvPr>
        </p:nvGraphicFramePr>
        <p:xfrm>
          <a:off x="2660684" y="1126941"/>
          <a:ext cx="7331184" cy="5547360"/>
        </p:xfrm>
        <a:graphic>
          <a:graphicData uri="http://schemas.openxmlformats.org/drawingml/2006/table">
            <a:tbl>
              <a:tblPr/>
              <a:tblGrid>
                <a:gridCol w="3776670">
                  <a:extLst>
                    <a:ext uri="{9D8B030D-6E8A-4147-A177-3AD203B41FA5}">
                      <a16:colId xmlns:a16="http://schemas.microsoft.com/office/drawing/2014/main" val="20000"/>
                    </a:ext>
                  </a:extLst>
                </a:gridCol>
                <a:gridCol w="1777257">
                  <a:extLst>
                    <a:ext uri="{9D8B030D-6E8A-4147-A177-3AD203B41FA5}">
                      <a16:colId xmlns:a16="http://schemas.microsoft.com/office/drawing/2014/main" val="20001"/>
                    </a:ext>
                  </a:extLst>
                </a:gridCol>
                <a:gridCol w="1777257">
                  <a:extLst>
                    <a:ext uri="{9D8B030D-6E8A-4147-A177-3AD203B41FA5}">
                      <a16:colId xmlns:a16="http://schemas.microsoft.com/office/drawing/2014/main" val="20002"/>
                    </a:ext>
                  </a:extLst>
                </a:gridCol>
              </a:tblGrid>
              <a:tr h="359000">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AKTIVER</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4</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Ejendomme</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7.067</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7.459</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Baneanlæ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0.728</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0.759</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Maskin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2.525</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92</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Tilgodehavend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71</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472</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Likvide</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midl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958</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latin typeface="Arial" charset="0"/>
                          <a:ea typeface="Arial" charset="0"/>
                          <a:cs typeface="Arial" charset="0"/>
                        </a:rPr>
                        <a:t>1.055</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39055">
                <a:tc>
                  <a:txBody>
                    <a:bodyPr/>
                    <a:lstStyle/>
                    <a:p>
                      <a:pPr marL="0" indent="0" algn="l">
                        <a:buNone/>
                      </a:pPr>
                      <a:r>
                        <a:rPr lang="en-US" sz="1800" b="1" dirty="0" err="1">
                          <a:solidFill>
                            <a:schemeClr val="bg1"/>
                          </a:solidFill>
                          <a:latin typeface="Arial" pitchFamily="34" charset="0"/>
                          <a:ea typeface="Arial" pitchFamily="34" charset="-122"/>
                          <a:cs typeface="Arial" pitchFamily="34" charset="-120"/>
                        </a:rPr>
                        <a:t>Aktiver</a:t>
                      </a:r>
                      <a:r>
                        <a:rPr lang="en-US" sz="1800" b="1" dirty="0">
                          <a:solidFill>
                            <a:schemeClr val="bg1"/>
                          </a:solidFill>
                          <a:latin typeface="Arial" pitchFamily="34" charset="0"/>
                          <a:ea typeface="Arial" pitchFamily="34" charset="-122"/>
                          <a:cs typeface="Arial" pitchFamily="34" charset="-120"/>
                        </a:rPr>
                        <a:t> </a:t>
                      </a:r>
                      <a:r>
                        <a:rPr lang="en-US" sz="1800" b="1" dirty="0" err="1">
                          <a:solidFill>
                            <a:schemeClr val="bg1"/>
                          </a:solidFill>
                          <a:latin typeface="Arial" pitchFamily="34" charset="0"/>
                          <a:ea typeface="Arial" pitchFamily="34" charset="-122"/>
                          <a:cs typeface="Arial" pitchFamily="34" charset="-120"/>
                        </a:rPr>
                        <a:t>i</a:t>
                      </a:r>
                      <a:r>
                        <a:rPr lang="en-US" sz="1800" b="1" dirty="0">
                          <a:solidFill>
                            <a:schemeClr val="bg1"/>
                          </a:solidFill>
                          <a:latin typeface="Arial" pitchFamily="34" charset="0"/>
                          <a:ea typeface="Arial" pitchFamily="34" charset="-122"/>
                          <a:cs typeface="Arial" pitchFamily="34" charset="-120"/>
                        </a:rPr>
                        <a:t> alt</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21.349</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19.837</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10006"/>
                  </a:ext>
                </a:extLst>
              </a:tr>
              <a:tr h="359000">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PASSIVER</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a:solidFill>
                            <a:srgbClr val="FFFFFF"/>
                          </a:solidFill>
                          <a:latin typeface="Arial" pitchFamily="34" charset="0"/>
                          <a:ea typeface="Arial" pitchFamily="34" charset="-122"/>
                          <a:cs typeface="Arial" pitchFamily="34" charset="-120"/>
                        </a:rPr>
                        <a:t>2024</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7"/>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Egenkapital</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i</a:t>
                      </a:r>
                      <a:r>
                        <a:rPr lang="en-US" sz="1800" b="1" dirty="0">
                          <a:solidFill>
                            <a:srgbClr val="1F4E79"/>
                          </a:solidFill>
                          <a:latin typeface="Arial" pitchFamily="34" charset="0"/>
                          <a:ea typeface="Arial" pitchFamily="34" charset="-122"/>
                          <a:cs typeface="Arial" pitchFamily="34" charset="-120"/>
                        </a:rPr>
                        <a:t> al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7.98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7.806</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Hensættels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0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625</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Lån</a:t>
                      </a:r>
                      <a:r>
                        <a:rPr lang="en-US" sz="1800" b="1" dirty="0">
                          <a:solidFill>
                            <a:srgbClr val="1F4E79"/>
                          </a:solidFill>
                          <a:latin typeface="Arial" pitchFamily="34" charset="0"/>
                          <a:ea typeface="Arial" pitchFamily="34" charset="-122"/>
                          <a:cs typeface="Arial" pitchFamily="34" charset="-120"/>
                        </a:rPr>
                        <a:t> Hedensted </a:t>
                      </a:r>
                      <a:r>
                        <a:rPr lang="en-US" sz="1800" b="1" dirty="0" err="1">
                          <a:solidFill>
                            <a:srgbClr val="1F4E79"/>
                          </a:solidFill>
                          <a:latin typeface="Arial" pitchFamily="34" charset="0"/>
                          <a:ea typeface="Arial" pitchFamily="34" charset="-122"/>
                          <a:cs typeface="Arial" pitchFamily="34" charset="-120"/>
                        </a:rPr>
                        <a:t>GolfKlub</a:t>
                      </a:r>
                      <a:r>
                        <a:rPr lang="en-US" sz="1800" b="1" dirty="0">
                          <a:solidFill>
                            <a:srgbClr val="1F4E79"/>
                          </a:solidFill>
                          <a:latin typeface="Arial" pitchFamily="34" charset="0"/>
                          <a:ea typeface="Arial" pitchFamily="34" charset="-122"/>
                          <a:cs typeface="Arial" pitchFamily="34" charset="-120"/>
                        </a:rPr>
                        <a:t> A/S</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1.180</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18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Prioritetsgæld</a:t>
                      </a:r>
                      <a:r>
                        <a:rPr lang="en-US" sz="1800" b="1" dirty="0">
                          <a:solidFill>
                            <a:srgbClr val="1F4E79"/>
                          </a:solidFill>
                          <a:latin typeface="Arial" pitchFamily="34" charset="0"/>
                          <a:ea typeface="Arial" pitchFamily="34" charset="-122"/>
                          <a:cs typeface="Arial" pitchFamily="34" charset="-120"/>
                        </a:rPr>
                        <a:t> Nykredi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rgbClr val="333333"/>
                          </a:solidFill>
                          <a:latin typeface="Arial" pitchFamily="34" charset="0"/>
                          <a:ea typeface="Arial" pitchFamily="34" charset="-122"/>
                          <a:cs typeface="Arial" pitchFamily="34" charset="-120"/>
                        </a:rPr>
                        <a:t>8.692</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9.096</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1"/>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Lån</a:t>
                      </a:r>
                      <a:r>
                        <a:rPr lang="en-US" sz="1800" b="1" dirty="0">
                          <a:solidFill>
                            <a:srgbClr val="1F4E79"/>
                          </a:solidFill>
                          <a:latin typeface="Arial" pitchFamily="34" charset="0"/>
                          <a:ea typeface="Arial" pitchFamily="34" charset="-122"/>
                          <a:cs typeface="Arial" pitchFamily="34" charset="-120"/>
                        </a:rPr>
                        <a:t> Trackman</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76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2"/>
                  </a:ext>
                </a:extLst>
              </a:tr>
              <a:tr h="339055">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Kortfristet</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gæld</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kern="1200" dirty="0">
                          <a:solidFill>
                            <a:srgbClr val="333333"/>
                          </a:solidFill>
                          <a:latin typeface="Arial" pitchFamily="34" charset="0"/>
                          <a:ea typeface="Arial" charset="0"/>
                          <a:cs typeface="Arial" pitchFamily="34" charset="-120"/>
                        </a:rPr>
                        <a:t>1.137</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rgbClr val="333333"/>
                          </a:solidFill>
                          <a:latin typeface="Arial" pitchFamily="34" charset="0"/>
                          <a:ea typeface="Arial" pitchFamily="34" charset="-122"/>
                          <a:cs typeface="Arial" pitchFamily="34" charset="-120"/>
                        </a:rPr>
                        <a:t>1.130</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3"/>
                  </a:ext>
                </a:extLst>
              </a:tr>
              <a:tr h="339055">
                <a:tc>
                  <a:txBody>
                    <a:bodyPr/>
                    <a:lstStyle/>
                    <a:p>
                      <a:pPr marL="0" indent="0" algn="l">
                        <a:buNone/>
                      </a:pPr>
                      <a:r>
                        <a:rPr lang="en-US" sz="1800" b="1" dirty="0" err="1">
                          <a:solidFill>
                            <a:schemeClr val="bg1"/>
                          </a:solidFill>
                          <a:latin typeface="Arial" pitchFamily="34" charset="0"/>
                          <a:ea typeface="Arial" pitchFamily="34" charset="-122"/>
                          <a:cs typeface="Arial" pitchFamily="34" charset="-120"/>
                        </a:rPr>
                        <a:t>Passiver</a:t>
                      </a:r>
                      <a:r>
                        <a:rPr lang="en-US" sz="1800" b="1" dirty="0">
                          <a:solidFill>
                            <a:schemeClr val="bg1"/>
                          </a:solidFill>
                          <a:latin typeface="Arial" pitchFamily="34" charset="0"/>
                          <a:ea typeface="Arial" pitchFamily="34" charset="-122"/>
                          <a:cs typeface="Arial" pitchFamily="34" charset="-120"/>
                        </a:rPr>
                        <a:t> </a:t>
                      </a:r>
                      <a:r>
                        <a:rPr lang="en-US" sz="1800" b="1" dirty="0" err="1">
                          <a:solidFill>
                            <a:schemeClr val="bg1"/>
                          </a:solidFill>
                          <a:latin typeface="Arial" pitchFamily="34" charset="0"/>
                          <a:ea typeface="Arial" pitchFamily="34" charset="-122"/>
                          <a:cs typeface="Arial" pitchFamily="34" charset="-120"/>
                        </a:rPr>
                        <a:t>i</a:t>
                      </a:r>
                      <a:r>
                        <a:rPr lang="en-US" sz="1800" b="1" dirty="0">
                          <a:solidFill>
                            <a:schemeClr val="bg1"/>
                          </a:solidFill>
                          <a:latin typeface="Arial" pitchFamily="34" charset="0"/>
                          <a:ea typeface="Arial" pitchFamily="34" charset="-122"/>
                          <a:cs typeface="Arial" pitchFamily="34" charset="-120"/>
                        </a:rPr>
                        <a:t> alt</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21.349</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19.837</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10014"/>
                  </a:ext>
                </a:extLst>
              </a:tr>
            </a:tbl>
          </a:graphicData>
        </a:graphic>
      </p:graphicFrame>
      <p:pic>
        <p:nvPicPr>
          <p:cNvPr id="12" name="Pladsholder til indhold 4">
            <a:extLst>
              <a:ext uri="{FF2B5EF4-FFF2-40B4-BE49-F238E27FC236}">
                <a16:creationId xmlns:a16="http://schemas.microsoft.com/office/drawing/2014/main" id="{C01DB41D-7825-D366-D838-413854BADB97}"/>
              </a:ext>
            </a:extLst>
          </p:cNvPr>
          <p:cNvPicPr>
            <a:picLocks noChangeAspect="1"/>
          </p:cNvPicPr>
          <p:nvPr/>
        </p:nvPicPr>
        <p:blipFill>
          <a:blip r:embed="rId4">
            <a:extLst>
              <a:ext uri="{28A0092B-C50C-407E-A947-70E740481C1C}">
                <a14:useLocalDpi xmlns:a14="http://schemas.microsoft.com/office/drawing/2010/main" val="0"/>
              </a:ext>
            </a:extLst>
          </a:blip>
          <a:srcRect l="43471" r="4347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Tree>
    <p:extLst>
      <p:ext uri="{BB962C8B-B14F-4D97-AF65-F5344CB8AC3E}">
        <p14:creationId xmlns:p14="http://schemas.microsoft.com/office/powerpoint/2010/main" val="4164206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92123-6E44-B68D-F27C-D02BD64952E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5C0A43F-E37E-042F-8615-DC4CAAAFA542}"/>
              </a:ext>
            </a:extLst>
          </p:cNvPr>
          <p:cNvSpPr>
            <a:spLocks noGrp="1"/>
          </p:cNvSpPr>
          <p:nvPr>
            <p:ph type="title"/>
          </p:nvPr>
        </p:nvSpPr>
        <p:spPr>
          <a:xfrm>
            <a:off x="1589897" y="197032"/>
            <a:ext cx="6781800" cy="1338696"/>
          </a:xfrm>
        </p:spPr>
        <p:txBody>
          <a:bodyPr vert="horz" lIns="91440" tIns="45720" rIns="91440" bIns="45720" rtlCol="0" anchor="ctr">
            <a:normAutofit/>
          </a:bodyPr>
          <a:lstStyle/>
          <a:p>
            <a:r>
              <a:rPr lang="en-US" sz="6600" b="1"/>
              <a:t>BUDGET 2026</a:t>
            </a:r>
          </a:p>
        </p:txBody>
      </p:sp>
      <p:pic>
        <p:nvPicPr>
          <p:cNvPr id="3" name="Billede 2" descr="Et billede, der indeholder tekst, Grafik, logo, grafisk design">
            <a:extLst>
              <a:ext uri="{FF2B5EF4-FFF2-40B4-BE49-F238E27FC236}">
                <a16:creationId xmlns:a16="http://schemas.microsoft.com/office/drawing/2014/main" id="{3C93306E-B3F7-3222-3171-2DA4C34F20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8" name="Pladsholder til indhold 4">
            <a:extLst>
              <a:ext uri="{FF2B5EF4-FFF2-40B4-BE49-F238E27FC236}">
                <a16:creationId xmlns:a16="http://schemas.microsoft.com/office/drawing/2014/main" id="{BF30DFE6-3928-7563-1257-EE4EEF04AE6F}"/>
              </a:ext>
            </a:extLst>
          </p:cNvPr>
          <p:cNvPicPr>
            <a:picLocks noChangeAspect="1"/>
          </p:cNvPicPr>
          <p:nvPr/>
        </p:nvPicPr>
        <p:blipFill>
          <a:blip r:embed="rId4">
            <a:extLst>
              <a:ext uri="{28A0092B-C50C-407E-A947-70E740481C1C}">
                <a14:useLocalDpi xmlns:a14="http://schemas.microsoft.com/office/drawing/2010/main" val="0"/>
              </a:ext>
            </a:extLst>
          </a:blip>
          <a:srcRect l="43471" r="4347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graphicFrame>
        <p:nvGraphicFramePr>
          <p:cNvPr id="9" name="Tabel 8">
            <a:extLst>
              <a:ext uri="{FF2B5EF4-FFF2-40B4-BE49-F238E27FC236}">
                <a16:creationId xmlns:a16="http://schemas.microsoft.com/office/drawing/2014/main" id="{F09BA3DD-6DDB-714C-CF49-3690A6823A76}"/>
              </a:ext>
            </a:extLst>
          </p:cNvPr>
          <p:cNvGraphicFramePr>
            <a:graphicFrameLocks noGrp="1"/>
          </p:cNvGraphicFramePr>
          <p:nvPr>
            <p:extLst>
              <p:ext uri="{D42A27DB-BD31-4B8C-83A1-F6EECF244321}">
                <p14:modId xmlns:p14="http://schemas.microsoft.com/office/powerpoint/2010/main" val="2469030652"/>
              </p:ext>
            </p:extLst>
          </p:nvPr>
        </p:nvGraphicFramePr>
        <p:xfrm>
          <a:off x="1589898" y="1601288"/>
          <a:ext cx="9212652" cy="5059680"/>
        </p:xfrm>
        <a:graphic>
          <a:graphicData uri="http://schemas.openxmlformats.org/drawingml/2006/table">
            <a:tbl>
              <a:tblPr/>
              <a:tblGrid>
                <a:gridCol w="4429902">
                  <a:extLst>
                    <a:ext uri="{9D8B030D-6E8A-4147-A177-3AD203B41FA5}">
                      <a16:colId xmlns:a16="http://schemas.microsoft.com/office/drawing/2014/main" val="527265891"/>
                    </a:ext>
                  </a:extLst>
                </a:gridCol>
                <a:gridCol w="1879600">
                  <a:extLst>
                    <a:ext uri="{9D8B030D-6E8A-4147-A177-3AD203B41FA5}">
                      <a16:colId xmlns:a16="http://schemas.microsoft.com/office/drawing/2014/main" val="3007797268"/>
                    </a:ext>
                  </a:extLst>
                </a:gridCol>
                <a:gridCol w="1498600">
                  <a:extLst>
                    <a:ext uri="{9D8B030D-6E8A-4147-A177-3AD203B41FA5}">
                      <a16:colId xmlns:a16="http://schemas.microsoft.com/office/drawing/2014/main" val="3071913115"/>
                    </a:ext>
                  </a:extLst>
                </a:gridCol>
                <a:gridCol w="1404550">
                  <a:extLst>
                    <a:ext uri="{9D8B030D-6E8A-4147-A177-3AD203B41FA5}">
                      <a16:colId xmlns:a16="http://schemas.microsoft.com/office/drawing/2014/main" val="3759120095"/>
                    </a:ext>
                  </a:extLst>
                </a:gridCol>
              </a:tblGrid>
              <a:tr h="352889">
                <a:tc>
                  <a:txBody>
                    <a:bodyPr/>
                    <a:lstStyle/>
                    <a:p>
                      <a:pPr marL="0" indent="0" algn="ctr">
                        <a:buNone/>
                      </a:pPr>
                      <a:r>
                        <a:rPr lang="en-US" sz="3200" b="1" dirty="0">
                          <a:solidFill>
                            <a:srgbClr val="FFFFFF"/>
                          </a:solidFill>
                          <a:latin typeface="Arial" pitchFamily="34" charset="0"/>
                          <a:ea typeface="Arial" pitchFamily="34" charset="-122"/>
                          <a:cs typeface="Arial" pitchFamily="34" charset="-120"/>
                        </a:rPr>
                        <a:t>INDTÆGTER</a:t>
                      </a:r>
                      <a:endParaRPr lang="en-US" sz="32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err="1">
                          <a:solidFill>
                            <a:srgbClr val="FFFFFF"/>
                          </a:solidFill>
                          <a:latin typeface="Arial" pitchFamily="34" charset="0"/>
                          <a:ea typeface="Arial" pitchFamily="34" charset="-122"/>
                          <a:cs typeface="Arial" pitchFamily="34" charset="-120"/>
                        </a:rPr>
                        <a:t>Regnskab</a:t>
                      </a:r>
                      <a:endParaRPr lang="en-US" sz="2000" b="1" dirty="0">
                        <a:solidFill>
                          <a:srgbClr val="FFFFFF"/>
                        </a:solidFill>
                        <a:latin typeface="Arial" pitchFamily="34" charset="0"/>
                        <a:ea typeface="Arial" pitchFamily="34" charset="-122"/>
                        <a:cs typeface="Arial" pitchFamily="34" charset="-120"/>
                      </a:endParaRPr>
                    </a:p>
                    <a:p>
                      <a:pPr marL="0" indent="0" algn="ctr">
                        <a:buNone/>
                      </a:pPr>
                      <a:r>
                        <a:rPr lang="en-US" sz="2000" b="1" dirty="0">
                          <a:solidFill>
                            <a:srgbClr val="FFFFFF"/>
                          </a:solidFill>
                          <a:latin typeface="Arial" pitchFamily="34" charset="0"/>
                          <a:ea typeface="Arial" pitchFamily="34" charset="-122"/>
                          <a:cs typeface="Arial" pitchFamily="34" charset="-120"/>
                        </a:rPr>
                        <a:t>20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defTabSz="914400" rtl="0" eaLnBrk="1" latinLnBrk="0" hangingPunct="1">
                        <a:buNone/>
                      </a:pPr>
                      <a:r>
                        <a:rPr lang="en-US" sz="2000" b="1" kern="1200" dirty="0">
                          <a:solidFill>
                            <a:srgbClr val="FFFFFF"/>
                          </a:solidFill>
                          <a:latin typeface="Arial" pitchFamily="34" charset="0"/>
                          <a:ea typeface="Arial" pitchFamily="34" charset="-122"/>
                          <a:cs typeface="Arial" pitchFamily="34" charset="-120"/>
                        </a:rPr>
                        <a:t>Budget 2026</a:t>
                      </a:r>
                      <a:endParaRPr lang="en-US" sz="2000" b="1" kern="1200" dirty="0">
                        <a:solidFill>
                          <a:srgbClr val="FFFFFF"/>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err="1">
                          <a:solidFill>
                            <a:srgbClr val="FFFFFF"/>
                          </a:solidFill>
                          <a:latin typeface="Arial" pitchFamily="34" charset="0"/>
                          <a:ea typeface="Arial" pitchFamily="34" charset="-122"/>
                          <a:cs typeface="Arial" pitchFamily="34" charset="-120"/>
                        </a:rPr>
                        <a:t>Afvigelse</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479882609"/>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Medlemskontingent</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6.080</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6.242</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162</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64129926"/>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Greenfee</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1.562</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1.610</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48</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38163818"/>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Sponsorindtægter</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537</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500</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37</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495992"/>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Lejeindtægt</a:t>
                      </a:r>
                      <a:r>
                        <a:rPr lang="en-US" sz="2000" b="1" kern="1200" dirty="0">
                          <a:solidFill>
                            <a:srgbClr val="1F4E79"/>
                          </a:solidFill>
                          <a:latin typeface="Arial" pitchFamily="34" charset="0"/>
                          <a:ea typeface="Arial" pitchFamily="34" charset="-122"/>
                          <a:cs typeface="Arial" pitchFamily="34" charset="-120"/>
                        </a:rPr>
                        <a:t> </a:t>
                      </a:r>
                      <a:r>
                        <a:rPr lang="en-US" sz="2000" b="1" kern="1200" dirty="0" err="1">
                          <a:solidFill>
                            <a:srgbClr val="1F4E79"/>
                          </a:solidFill>
                          <a:latin typeface="Arial" pitchFamily="34" charset="0"/>
                          <a:ea typeface="Arial" pitchFamily="34" charset="-122"/>
                          <a:cs typeface="Arial" pitchFamily="34" charset="-120"/>
                        </a:rPr>
                        <a:t>elbiler</a:t>
                      </a:r>
                      <a:r>
                        <a:rPr lang="en-US" sz="2000" b="1" kern="1200" dirty="0">
                          <a:solidFill>
                            <a:srgbClr val="1F4E79"/>
                          </a:solidFill>
                          <a:latin typeface="Arial" pitchFamily="34" charset="0"/>
                          <a:ea typeface="Arial" pitchFamily="34" charset="-122"/>
                          <a:cs typeface="Arial" pitchFamily="34" charset="-120"/>
                        </a:rPr>
                        <a:t> + driving range</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322</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251</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71</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33864024"/>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Lejeindtægt</a:t>
                      </a:r>
                      <a:r>
                        <a:rPr lang="en-US" sz="2000" b="1" kern="1200" dirty="0">
                          <a:solidFill>
                            <a:srgbClr val="1F4E79"/>
                          </a:solidFill>
                          <a:latin typeface="Arial" pitchFamily="34" charset="0"/>
                          <a:ea typeface="Arial" pitchFamily="34" charset="-122"/>
                          <a:cs typeface="Arial" pitchFamily="34" charset="-120"/>
                        </a:rPr>
                        <a:t> </a:t>
                      </a:r>
                      <a:r>
                        <a:rPr lang="en-US" sz="2000" b="1" kern="1200" dirty="0" err="1">
                          <a:solidFill>
                            <a:srgbClr val="1F4E79"/>
                          </a:solidFill>
                          <a:latin typeface="Arial" pitchFamily="34" charset="0"/>
                          <a:ea typeface="Arial" pitchFamily="34" charset="-122"/>
                          <a:cs typeface="Arial" pitchFamily="34" charset="-120"/>
                        </a:rPr>
                        <a:t>boliger</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72</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93</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21</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99868755"/>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Lejeindtægt</a:t>
                      </a:r>
                      <a:r>
                        <a:rPr lang="en-US" sz="2000" b="1" kern="1200" dirty="0">
                          <a:solidFill>
                            <a:srgbClr val="1F4E79"/>
                          </a:solidFill>
                          <a:latin typeface="Arial" pitchFamily="34" charset="0"/>
                          <a:ea typeface="Arial" pitchFamily="34" charset="-122"/>
                          <a:cs typeface="Arial" pitchFamily="34" charset="-120"/>
                        </a:rPr>
                        <a:t> cafe</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10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101</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4</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90377282"/>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Tilskud</a:t>
                      </a:r>
                      <a:r>
                        <a:rPr lang="en-US" sz="2000" b="1" kern="1200" dirty="0">
                          <a:solidFill>
                            <a:srgbClr val="1F4E79"/>
                          </a:solidFill>
                          <a:latin typeface="Arial" pitchFamily="34" charset="0"/>
                          <a:ea typeface="Arial" pitchFamily="34" charset="-122"/>
                          <a:cs typeface="Arial" pitchFamily="34" charset="-120"/>
                        </a:rPr>
                        <a:t> </a:t>
                      </a:r>
                      <a:r>
                        <a:rPr lang="en-US" sz="2000" b="1" kern="1200" dirty="0" err="1">
                          <a:solidFill>
                            <a:srgbClr val="1F4E79"/>
                          </a:solidFill>
                          <a:latin typeface="Arial" pitchFamily="34" charset="0"/>
                          <a:ea typeface="Arial" pitchFamily="34" charset="-122"/>
                          <a:cs typeface="Arial" pitchFamily="34" charset="-120"/>
                        </a:rPr>
                        <a:t>kommunen</a:t>
                      </a:r>
                      <a:r>
                        <a:rPr lang="en-US" sz="2000" b="1" kern="1200" dirty="0">
                          <a:solidFill>
                            <a:srgbClr val="1F4E79"/>
                          </a:solidFill>
                          <a:latin typeface="Arial" pitchFamily="34" charset="0"/>
                          <a:ea typeface="Arial" pitchFamily="34" charset="-122"/>
                          <a:cs typeface="Arial" pitchFamily="34" charset="-120"/>
                        </a:rPr>
                        <a:t>/</a:t>
                      </a:r>
                      <a:r>
                        <a:rPr lang="en-US" sz="2000" b="1" kern="1200" dirty="0" err="1">
                          <a:solidFill>
                            <a:srgbClr val="1F4E79"/>
                          </a:solidFill>
                          <a:latin typeface="Arial" pitchFamily="34" charset="0"/>
                          <a:ea typeface="Arial" pitchFamily="34" charset="-122"/>
                          <a:cs typeface="Arial" pitchFamily="34" charset="-120"/>
                        </a:rPr>
                        <a:t>legater</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28</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5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27</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4459314"/>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Matchfee</a:t>
                      </a:r>
                      <a:r>
                        <a:rPr lang="en-US" sz="2000" b="1" kern="1200" dirty="0">
                          <a:solidFill>
                            <a:srgbClr val="1F4E79"/>
                          </a:solidFill>
                          <a:latin typeface="Arial" pitchFamily="34" charset="0"/>
                          <a:ea typeface="Arial" pitchFamily="34" charset="-122"/>
                          <a:cs typeface="Arial" pitchFamily="34" charset="-120"/>
                        </a:rPr>
                        <a:t>/</a:t>
                      </a:r>
                      <a:r>
                        <a:rPr lang="en-US" sz="2000" b="1" kern="1200" dirty="0" err="1">
                          <a:solidFill>
                            <a:srgbClr val="1F4E79"/>
                          </a:solidFill>
                          <a:latin typeface="Arial" pitchFamily="34" charset="0"/>
                          <a:ea typeface="Arial" pitchFamily="34" charset="-122"/>
                          <a:cs typeface="Arial" pitchFamily="34" charset="-120"/>
                        </a:rPr>
                        <a:t>træning</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28</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97</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12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9370756"/>
                  </a:ext>
                </a:extLst>
              </a:tr>
              <a:tr h="341126">
                <a:tc>
                  <a:txBody>
                    <a:bodyPr/>
                    <a:lstStyle/>
                    <a:p>
                      <a:pPr marL="0" indent="0" algn="l">
                        <a:buNone/>
                      </a:pPr>
                      <a:r>
                        <a:rPr lang="en-US" sz="2000" b="1" kern="1200" dirty="0">
                          <a:solidFill>
                            <a:srgbClr val="1F4E79"/>
                          </a:solidFill>
                          <a:latin typeface="Arial" pitchFamily="34" charset="0"/>
                          <a:ea typeface="Arial" pitchFamily="34" charset="-122"/>
                          <a:cs typeface="Arial" pitchFamily="34" charset="-120"/>
                        </a:rPr>
                        <a:t>Trackman</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175</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solidFill>
                            <a:srgbClr val="333333"/>
                          </a:solidFill>
                          <a:latin typeface="Arial" pitchFamily="34" charset="0"/>
                          <a:ea typeface="Arial" pitchFamily="34" charset="-122"/>
                          <a:cs typeface="Arial" pitchFamily="34" charset="-120"/>
                        </a:rPr>
                        <a:t>169</a:t>
                      </a:r>
                      <a:endParaRPr lang="en-US" sz="20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solidFill>
                            <a:srgbClr val="333333"/>
                          </a:solidFill>
                          <a:latin typeface="Arial" pitchFamily="34" charset="0"/>
                          <a:ea typeface="Arial" pitchFamily="34" charset="-122"/>
                          <a:cs typeface="Arial" pitchFamily="34" charset="-120"/>
                        </a:rPr>
                        <a:t>-6</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54246945"/>
                  </a:ext>
                </a:extLst>
              </a:tr>
              <a:tr h="341126">
                <a:tc>
                  <a:txBody>
                    <a:bodyPr/>
                    <a:lstStyle/>
                    <a:p>
                      <a:pPr marL="0" indent="0" algn="l">
                        <a:buNone/>
                      </a:pPr>
                      <a:r>
                        <a:rPr lang="en-US" sz="2000" b="1" kern="1200" dirty="0" err="1">
                          <a:solidFill>
                            <a:srgbClr val="1F4E79"/>
                          </a:solidFill>
                          <a:latin typeface="Arial" pitchFamily="34" charset="0"/>
                          <a:ea typeface="Arial" pitchFamily="34" charset="-122"/>
                          <a:cs typeface="Arial" pitchFamily="34" charset="-120"/>
                        </a:rPr>
                        <a:t>Jubilæum</a:t>
                      </a:r>
                      <a:endParaRPr lang="en-US" sz="2000" b="1" kern="1200" dirty="0">
                        <a:solidFill>
                          <a:srgbClr val="1F4E79"/>
                        </a:solidFill>
                        <a:latin typeface="Arial" pitchFamily="34" charset="0"/>
                        <a:ea typeface="Arial" charset="0"/>
                        <a:cs typeface="Arial" pitchFamily="34" charset="-12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2000">
                          <a:latin typeface="Arial" charset="0"/>
                          <a:ea typeface="Arial" charset="0"/>
                          <a:cs typeface="Arial" charset="0"/>
                        </a:rPr>
                        <a:t>65</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a:latin typeface="Arial" charset="0"/>
                          <a:ea typeface="Arial" charset="0"/>
                          <a:cs typeface="Arial" charset="0"/>
                        </a:rPr>
                        <a:t>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000" dirty="0">
                          <a:latin typeface="Arial" charset="0"/>
                          <a:ea typeface="Arial" charset="0"/>
                          <a:cs typeface="Arial" charset="0"/>
                        </a:rPr>
                        <a:t>-65</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75840064"/>
                  </a:ext>
                </a:extLst>
              </a:tr>
              <a:tr h="341126">
                <a:tc>
                  <a:txBody>
                    <a:bodyPr/>
                    <a:lstStyle/>
                    <a:p>
                      <a:pPr marL="0" indent="0" algn="l">
                        <a:buNone/>
                      </a:pPr>
                      <a:r>
                        <a:rPr lang="en-US" sz="2000" b="1" dirty="0">
                          <a:solidFill>
                            <a:schemeClr val="bg1"/>
                          </a:solidFill>
                          <a:latin typeface="Arial" pitchFamily="34" charset="0"/>
                          <a:ea typeface="Arial" pitchFamily="34" charset="-122"/>
                          <a:cs typeface="Arial" pitchFamily="34" charset="-120"/>
                        </a:rPr>
                        <a:t>INDTÆGTER I ALT</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8.918</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9.118</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2000" b="1" dirty="0">
                          <a:solidFill>
                            <a:schemeClr val="bg1"/>
                          </a:solidFill>
                          <a:latin typeface="Arial" pitchFamily="34" charset="0"/>
                          <a:ea typeface="Arial" pitchFamily="34" charset="-122"/>
                          <a:cs typeface="Arial" pitchFamily="34" charset="-120"/>
                        </a:rPr>
                        <a:t>200</a:t>
                      </a:r>
                      <a:endParaRPr lang="en-US" sz="20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3468594479"/>
                  </a:ext>
                </a:extLst>
              </a:tr>
            </a:tbl>
          </a:graphicData>
        </a:graphic>
      </p:graphicFrame>
    </p:spTree>
    <p:extLst>
      <p:ext uri="{BB962C8B-B14F-4D97-AF65-F5344CB8AC3E}">
        <p14:creationId xmlns:p14="http://schemas.microsoft.com/office/powerpoint/2010/main" val="1582723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166C1-BCBD-2151-E660-1A5F1F072269}"/>
            </a:ext>
          </a:extLst>
        </p:cNvPr>
        <p:cNvGrpSpPr/>
        <p:nvPr/>
      </p:nvGrpSpPr>
      <p:grpSpPr>
        <a:xfrm>
          <a:off x="0" y="0"/>
          <a:ext cx="0" cy="0"/>
          <a:chOff x="0" y="0"/>
          <a:chExt cx="0" cy="0"/>
        </a:xfrm>
      </p:grpSpPr>
      <p:pic>
        <p:nvPicPr>
          <p:cNvPr id="3" name="Billede 2" descr="Et billede, der indeholder tekst, Grafik, logo, grafisk design">
            <a:extLst>
              <a:ext uri="{FF2B5EF4-FFF2-40B4-BE49-F238E27FC236}">
                <a16:creationId xmlns:a16="http://schemas.microsoft.com/office/drawing/2014/main" id="{20449CA6-3F90-BA33-3105-7FF72B7FA0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9436" y="235132"/>
            <a:ext cx="1078927" cy="968009"/>
          </a:xfrm>
          <a:prstGeom prst="rect">
            <a:avLst/>
          </a:prstGeom>
        </p:spPr>
      </p:pic>
      <p:pic>
        <p:nvPicPr>
          <p:cNvPr id="8" name="Pladsholder til indhold 4">
            <a:extLst>
              <a:ext uri="{FF2B5EF4-FFF2-40B4-BE49-F238E27FC236}">
                <a16:creationId xmlns:a16="http://schemas.microsoft.com/office/drawing/2014/main" id="{75278724-BFCF-54E4-B5DB-72F1FF64502B}"/>
              </a:ext>
            </a:extLst>
          </p:cNvPr>
          <p:cNvPicPr>
            <a:picLocks noChangeAspect="1"/>
          </p:cNvPicPr>
          <p:nvPr/>
        </p:nvPicPr>
        <p:blipFill>
          <a:blip r:embed="rId4">
            <a:extLst>
              <a:ext uri="{28A0092B-C50C-407E-A947-70E740481C1C}">
                <a14:useLocalDpi xmlns:a14="http://schemas.microsoft.com/office/drawing/2010/main" val="0"/>
              </a:ext>
            </a:extLst>
          </a:blip>
          <a:srcRect l="46141" r="4614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graphicFrame>
        <p:nvGraphicFramePr>
          <p:cNvPr id="14" name="Tabel 13">
            <a:extLst>
              <a:ext uri="{FF2B5EF4-FFF2-40B4-BE49-F238E27FC236}">
                <a16:creationId xmlns:a16="http://schemas.microsoft.com/office/drawing/2014/main" id="{E26D5254-CB39-0865-3A36-2EC9C2471527}"/>
              </a:ext>
            </a:extLst>
          </p:cNvPr>
          <p:cNvGraphicFramePr>
            <a:graphicFrameLocks noGrp="1"/>
          </p:cNvGraphicFramePr>
          <p:nvPr>
            <p:extLst>
              <p:ext uri="{D42A27DB-BD31-4B8C-83A1-F6EECF244321}">
                <p14:modId xmlns:p14="http://schemas.microsoft.com/office/powerpoint/2010/main" val="2996087067"/>
              </p:ext>
            </p:extLst>
          </p:nvPr>
        </p:nvGraphicFramePr>
        <p:xfrm>
          <a:off x="1364963" y="12700"/>
          <a:ext cx="9500173" cy="6797040"/>
        </p:xfrm>
        <a:graphic>
          <a:graphicData uri="http://schemas.openxmlformats.org/drawingml/2006/table">
            <a:tbl>
              <a:tblPr/>
              <a:tblGrid>
                <a:gridCol w="4508500">
                  <a:extLst>
                    <a:ext uri="{9D8B030D-6E8A-4147-A177-3AD203B41FA5}">
                      <a16:colId xmlns:a16="http://schemas.microsoft.com/office/drawing/2014/main" val="1073207090"/>
                    </a:ext>
                  </a:extLst>
                </a:gridCol>
                <a:gridCol w="1600200">
                  <a:extLst>
                    <a:ext uri="{9D8B030D-6E8A-4147-A177-3AD203B41FA5}">
                      <a16:colId xmlns:a16="http://schemas.microsoft.com/office/drawing/2014/main" val="1747806599"/>
                    </a:ext>
                  </a:extLst>
                </a:gridCol>
                <a:gridCol w="1689100">
                  <a:extLst>
                    <a:ext uri="{9D8B030D-6E8A-4147-A177-3AD203B41FA5}">
                      <a16:colId xmlns:a16="http://schemas.microsoft.com/office/drawing/2014/main" val="2341093158"/>
                    </a:ext>
                  </a:extLst>
                </a:gridCol>
                <a:gridCol w="1702373">
                  <a:extLst>
                    <a:ext uri="{9D8B030D-6E8A-4147-A177-3AD203B41FA5}">
                      <a16:colId xmlns:a16="http://schemas.microsoft.com/office/drawing/2014/main" val="1306219338"/>
                    </a:ext>
                  </a:extLst>
                </a:gridCol>
              </a:tblGrid>
              <a:tr h="233172">
                <a:tc>
                  <a:txBody>
                    <a:bodyPr/>
                    <a:lstStyle/>
                    <a:p>
                      <a:pPr marL="0" indent="0" algn="ctr">
                        <a:buNone/>
                      </a:pPr>
                      <a:r>
                        <a:rPr lang="en-US" sz="3200" b="1" dirty="0">
                          <a:solidFill>
                            <a:srgbClr val="FFFFFF"/>
                          </a:solidFill>
                          <a:latin typeface="Arial" pitchFamily="34" charset="0"/>
                          <a:ea typeface="Arial" pitchFamily="34" charset="-122"/>
                          <a:cs typeface="Arial" pitchFamily="34" charset="-120"/>
                        </a:rPr>
                        <a:t>UDGIFTER/RESULTAT</a:t>
                      </a:r>
                      <a:endParaRPr lang="en-US" sz="32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1600" b="1" dirty="0" err="1">
                          <a:solidFill>
                            <a:srgbClr val="FFFFFF"/>
                          </a:solidFill>
                          <a:latin typeface="Arial" pitchFamily="34" charset="0"/>
                          <a:ea typeface="Arial" pitchFamily="34" charset="-122"/>
                          <a:cs typeface="Arial" pitchFamily="34" charset="-120"/>
                        </a:rPr>
                        <a:t>Regnskab</a:t>
                      </a:r>
                      <a:endParaRPr lang="en-US" sz="1600" b="1" dirty="0">
                        <a:solidFill>
                          <a:srgbClr val="FFFFFF"/>
                        </a:solidFill>
                        <a:latin typeface="Arial" pitchFamily="34" charset="0"/>
                        <a:ea typeface="Arial" pitchFamily="34" charset="-122"/>
                        <a:cs typeface="Arial" pitchFamily="34" charset="-120"/>
                      </a:endParaRPr>
                    </a:p>
                    <a:p>
                      <a:pPr marL="0" indent="0" algn="ctr">
                        <a:buNone/>
                      </a:pPr>
                      <a:r>
                        <a:rPr lang="en-US" sz="1600" b="1" dirty="0">
                          <a:solidFill>
                            <a:srgbClr val="FFFFFF"/>
                          </a:solidFill>
                          <a:latin typeface="Arial" pitchFamily="34" charset="0"/>
                          <a:ea typeface="Arial" pitchFamily="34" charset="-122"/>
                          <a:cs typeface="Arial" pitchFamily="34" charset="-120"/>
                        </a:rPr>
                        <a:t>2025</a:t>
                      </a:r>
                      <a:endParaRPr lang="en-US" sz="16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1600" b="1" dirty="0">
                          <a:solidFill>
                            <a:srgbClr val="FFFFFF"/>
                          </a:solidFill>
                          <a:latin typeface="Arial" pitchFamily="34" charset="0"/>
                          <a:ea typeface="Arial" pitchFamily="34" charset="-122"/>
                          <a:cs typeface="Arial" pitchFamily="34" charset="-120"/>
                        </a:rPr>
                        <a:t>Budget</a:t>
                      </a:r>
                    </a:p>
                    <a:p>
                      <a:pPr marL="0" indent="0" algn="ctr">
                        <a:buNone/>
                      </a:pPr>
                      <a:r>
                        <a:rPr lang="en-US" sz="1600" b="1" dirty="0">
                          <a:solidFill>
                            <a:srgbClr val="FFFFFF"/>
                          </a:solidFill>
                          <a:latin typeface="Arial" pitchFamily="34" charset="0"/>
                          <a:ea typeface="Arial" pitchFamily="34" charset="-122"/>
                          <a:cs typeface="Arial" pitchFamily="34" charset="-120"/>
                        </a:rPr>
                        <a:t>2026</a:t>
                      </a:r>
                      <a:endParaRPr lang="en-US" sz="16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000" b="1" dirty="0" err="1">
                          <a:solidFill>
                            <a:srgbClr val="FFFFFF"/>
                          </a:solidFill>
                          <a:latin typeface="Arial" pitchFamily="34" charset="0"/>
                          <a:ea typeface="Arial" pitchFamily="34" charset="-122"/>
                          <a:cs typeface="Arial" pitchFamily="34" charset="-120"/>
                        </a:rPr>
                        <a:t>Afvigelse</a:t>
                      </a:r>
                      <a:endParaRPr lang="en-US" sz="20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137172416"/>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Banedrif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149</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a:ea typeface="Arial" charset="0"/>
                          <a:cs typeface="Arial"/>
                        </a:rPr>
                        <a:t>3.873</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charset="0"/>
                          <a:cs typeface="Arial" pitchFamily="34" charset="-120"/>
                        </a:rPr>
                        <a:t>276</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2429673"/>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Ejendom</a:t>
                      </a:r>
                      <a:r>
                        <a:rPr lang="en-US" sz="1800" b="1" dirty="0">
                          <a:solidFill>
                            <a:srgbClr val="1F4E79"/>
                          </a:solidFill>
                          <a:latin typeface="Arial" pitchFamily="34" charset="0"/>
                          <a:ea typeface="Arial" pitchFamily="34" charset="-122"/>
                          <a:cs typeface="Arial" pitchFamily="34" charset="-120"/>
                        </a:rPr>
                        <a:t>/</a:t>
                      </a:r>
                      <a:r>
                        <a:rPr lang="en-US" sz="1800" b="1" dirty="0" err="1">
                          <a:solidFill>
                            <a:srgbClr val="1F4E79"/>
                          </a:solidFill>
                          <a:latin typeface="Arial" pitchFamily="34" charset="0"/>
                          <a:ea typeface="Arial" pitchFamily="34" charset="-122"/>
                          <a:cs typeface="Arial" pitchFamily="34" charset="-120"/>
                        </a:rPr>
                        <a:t>klubhusdrift</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i</a:t>
                      </a:r>
                      <a:r>
                        <a:rPr lang="en-US" sz="1800" b="1" dirty="0">
                          <a:solidFill>
                            <a:srgbClr val="1F4E79"/>
                          </a:solidFill>
                          <a:latin typeface="Arial" pitchFamily="34" charset="0"/>
                          <a:ea typeface="Arial" pitchFamily="34" charset="-122"/>
                          <a:cs typeface="Arial" pitchFamily="34" charset="-120"/>
                        </a:rPr>
                        <a:t> al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01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61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400</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03035139"/>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Kontingent</a:t>
                      </a:r>
                      <a:r>
                        <a:rPr lang="en-US" sz="1800" b="1" dirty="0">
                          <a:solidFill>
                            <a:srgbClr val="1F4E79"/>
                          </a:solidFill>
                          <a:latin typeface="Arial" pitchFamily="34" charset="0"/>
                          <a:ea typeface="Arial" pitchFamily="34" charset="-122"/>
                          <a:cs typeface="Arial" pitchFamily="34" charset="-120"/>
                        </a:rPr>
                        <a:t> DGU</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202</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21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8</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1204631"/>
                  </a:ext>
                </a:extLst>
              </a:tr>
              <a:tr h="233172">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Administration/</a:t>
                      </a:r>
                      <a:r>
                        <a:rPr lang="en-US" sz="1800" b="1" dirty="0" err="1">
                          <a:solidFill>
                            <a:srgbClr val="1F4E79"/>
                          </a:solidFill>
                          <a:latin typeface="Arial" pitchFamily="34" charset="0"/>
                          <a:ea typeface="Arial" pitchFamily="34" charset="-122"/>
                          <a:cs typeface="Arial" pitchFamily="34" charset="-120"/>
                        </a:rPr>
                        <a:t>sekr</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i</a:t>
                      </a:r>
                      <a:r>
                        <a:rPr lang="en-US" sz="1800" b="1" dirty="0">
                          <a:solidFill>
                            <a:srgbClr val="1F4E79"/>
                          </a:solidFill>
                          <a:latin typeface="Arial" pitchFamily="34" charset="0"/>
                          <a:ea typeface="Arial" pitchFamily="34" charset="-122"/>
                          <a:cs typeface="Arial" pitchFamily="34" charset="-120"/>
                        </a:rPr>
                        <a:t> alt</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2.067</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a:ea typeface="Arial" charset="0"/>
                          <a:cs typeface="Arial"/>
                        </a:rPr>
                        <a:t>2.032</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31194316"/>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Sportslige</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aktivitet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112</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08</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4</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10670120"/>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Markedsfør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defTabSz="914400" rtl="0" eaLnBrk="1" latinLnBrk="0" hangingPunct="1">
                        <a:buNone/>
                      </a:pPr>
                      <a:r>
                        <a:rPr lang="en-US" sz="1800" kern="1200">
                          <a:solidFill>
                            <a:schemeClr val="tx1"/>
                          </a:solidFill>
                          <a:latin typeface="Arial" pitchFamily="34" charset="0"/>
                          <a:ea typeface="Arial" charset="0"/>
                          <a:cs typeface="Arial" pitchFamily="34" charset="-120"/>
                        </a:rPr>
                        <a:t>51</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defTabSz="914400" rtl="0" eaLnBrk="1" latinLnBrk="0" hangingPunct="1">
                        <a:buNone/>
                      </a:pPr>
                      <a:r>
                        <a:rPr lang="en-US" sz="1800" kern="1200">
                          <a:solidFill>
                            <a:schemeClr val="tx1"/>
                          </a:solidFill>
                          <a:latin typeface="Arial" pitchFamily="34" charset="0"/>
                          <a:ea typeface="Arial" charset="0"/>
                          <a:cs typeface="Arial" pitchFamily="34" charset="-120"/>
                        </a:rPr>
                        <a:t>41</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7992764"/>
                  </a:ext>
                </a:extLst>
              </a:tr>
              <a:tr h="233172">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UDGIFTER I ALT</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7592</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a:solidFill>
                            <a:schemeClr val="tx1"/>
                          </a:solidFill>
                          <a:latin typeface="Arial"/>
                          <a:ea typeface="Arial" charset="0"/>
                          <a:cs typeface="Arial"/>
                        </a:rPr>
                        <a:t>6.875</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717</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C000"/>
                    </a:solidFill>
                  </a:tcPr>
                </a:tc>
                <a:extLst>
                  <a:ext uri="{0D108BD9-81ED-4DB2-BD59-A6C34878D82A}">
                    <a16:rowId xmlns:a16="http://schemas.microsoft.com/office/drawing/2014/main" val="3911854822"/>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Ydelse</a:t>
                      </a:r>
                      <a:r>
                        <a:rPr lang="en-US" sz="1800" b="1" dirty="0">
                          <a:solidFill>
                            <a:srgbClr val="1F4E79"/>
                          </a:solidFill>
                          <a:latin typeface="Arial" pitchFamily="34" charset="0"/>
                          <a:ea typeface="Arial" pitchFamily="34" charset="-122"/>
                          <a:cs typeface="Arial" pitchFamily="34" charset="-120"/>
                        </a:rPr>
                        <a:t> leas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754</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87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16</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01003695"/>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Resultat</a:t>
                      </a:r>
                      <a:r>
                        <a:rPr lang="en-US" sz="1800" b="1" dirty="0">
                          <a:solidFill>
                            <a:srgbClr val="1F4E79"/>
                          </a:solidFill>
                          <a:latin typeface="Arial" pitchFamily="34" charset="0"/>
                          <a:ea typeface="Arial" pitchFamily="34" charset="-122"/>
                          <a:cs typeface="Arial" pitchFamily="34" charset="-120"/>
                        </a:rPr>
                        <a:t> f. </a:t>
                      </a:r>
                      <a:r>
                        <a:rPr lang="en-US" sz="1800" b="1" dirty="0" err="1">
                          <a:solidFill>
                            <a:srgbClr val="1F4E79"/>
                          </a:solidFill>
                          <a:latin typeface="Arial" pitchFamily="34" charset="0"/>
                          <a:ea typeface="Arial" pitchFamily="34" charset="-122"/>
                          <a:cs typeface="Arial" pitchFamily="34" charset="-120"/>
                        </a:rPr>
                        <a:t>rente</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o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afskrivninger</a:t>
                      </a:r>
                      <a:endParaRPr lang="en-US" sz="1800"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572</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a:solidFill>
                            <a:schemeClr val="tx1"/>
                          </a:solidFill>
                          <a:latin typeface="Arial"/>
                          <a:ea typeface="Arial" charset="0"/>
                          <a:cs typeface="Arial"/>
                        </a:rPr>
                        <a:t>1.373</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80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583857190"/>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Afskrivninger</a:t>
                      </a:r>
                      <a:r>
                        <a:rPr lang="en-US" sz="1800" b="1" dirty="0">
                          <a:solidFill>
                            <a:srgbClr val="1F4E79"/>
                          </a:solidFill>
                          <a:latin typeface="Arial" pitchFamily="34" charset="0"/>
                          <a:ea typeface="Arial" pitchFamily="34" charset="-122"/>
                          <a:cs typeface="Arial" pitchFamily="34" charset="-120"/>
                        </a:rPr>
                        <a:t> inv. </a:t>
                      </a:r>
                      <a:r>
                        <a:rPr lang="en-US" sz="1800" b="1" dirty="0" err="1">
                          <a:solidFill>
                            <a:srgbClr val="1F4E79"/>
                          </a:solidFill>
                          <a:latin typeface="Arial" pitchFamily="34" charset="0"/>
                          <a:ea typeface="Arial" pitchFamily="34" charset="-122"/>
                          <a:cs typeface="Arial" pitchFamily="34" charset="-120"/>
                        </a:rPr>
                        <a:t>o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maskin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5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88</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137</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94405738"/>
                  </a:ext>
                </a:extLst>
              </a:tr>
              <a:tr h="233172">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Afdrag </a:t>
                      </a:r>
                      <a:r>
                        <a:rPr lang="en-US" sz="1800" b="1" dirty="0" err="1">
                          <a:solidFill>
                            <a:srgbClr val="1F4E79"/>
                          </a:solidFill>
                          <a:latin typeface="Arial" pitchFamily="34" charset="0"/>
                          <a:ea typeface="Arial" pitchFamily="34" charset="-122"/>
                          <a:cs typeface="Arial" pitchFamily="34" charset="-120"/>
                        </a:rPr>
                        <a:t>lån</a:t>
                      </a:r>
                      <a:r>
                        <a:rPr lang="en-US" sz="1800" b="1" dirty="0">
                          <a:solidFill>
                            <a:srgbClr val="1F4E79"/>
                          </a:solidFill>
                          <a:latin typeface="Arial" pitchFamily="34" charset="0"/>
                          <a:ea typeface="Arial" pitchFamily="34" charset="-122"/>
                          <a:cs typeface="Arial" pitchFamily="34" charset="-120"/>
                        </a:rPr>
                        <a:t> = </a:t>
                      </a:r>
                      <a:r>
                        <a:rPr lang="en-US" sz="1800" b="1" dirty="0" err="1">
                          <a:solidFill>
                            <a:srgbClr val="1F4E79"/>
                          </a:solidFill>
                          <a:latin typeface="Arial" pitchFamily="34" charset="0"/>
                          <a:ea typeface="Arial" pitchFamily="34" charset="-122"/>
                          <a:cs typeface="Arial" pitchFamily="34" charset="-120"/>
                        </a:rPr>
                        <a:t>by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Afskrivnin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391</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40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9</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0994103"/>
                  </a:ext>
                </a:extLst>
              </a:tr>
              <a:tr h="233172">
                <a:tc>
                  <a:txBody>
                    <a:bodyPr/>
                    <a:lstStyle/>
                    <a:p>
                      <a:pPr marL="0" indent="0" algn="l">
                        <a:buNone/>
                      </a:pPr>
                      <a:r>
                        <a:rPr lang="en-US" sz="1800" b="1" dirty="0">
                          <a:solidFill>
                            <a:srgbClr val="1F4E79"/>
                          </a:solidFill>
                          <a:latin typeface="Arial" pitchFamily="34" charset="0"/>
                          <a:ea typeface="Arial" pitchFamily="34" charset="-122"/>
                          <a:cs typeface="Arial" pitchFamily="34" charset="-120"/>
                        </a:rPr>
                        <a:t>Rente </a:t>
                      </a:r>
                      <a:r>
                        <a:rPr lang="en-US" sz="1800" b="1" dirty="0" err="1">
                          <a:solidFill>
                            <a:srgbClr val="1F4E79"/>
                          </a:solidFill>
                          <a:latin typeface="Arial" pitchFamily="34" charset="0"/>
                          <a:ea typeface="Arial" pitchFamily="34" charset="-122"/>
                          <a:cs typeface="Arial" pitchFamily="34" charset="-120"/>
                        </a:rPr>
                        <a:t>og</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bidrag</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330</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33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57726786"/>
                  </a:ext>
                </a:extLst>
              </a:tr>
              <a:tr h="233172">
                <a:tc>
                  <a:txBody>
                    <a:bodyPr/>
                    <a:lstStyle/>
                    <a:p>
                      <a:pPr marL="0" indent="0" algn="l">
                        <a:buNone/>
                      </a:pPr>
                      <a:r>
                        <a:rPr lang="en-US" sz="1800" b="1">
                          <a:solidFill>
                            <a:srgbClr val="1F4E79"/>
                          </a:solidFill>
                          <a:latin typeface="Arial" pitchFamily="34" charset="0"/>
                          <a:ea typeface="Arial" pitchFamily="34" charset="-122"/>
                          <a:cs typeface="Arial" pitchFamily="34" charset="-120"/>
                        </a:rPr>
                        <a:t>RESULTAT</a:t>
                      </a:r>
                      <a:endParaRPr lang="en-US" sz="180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B4C7E7"/>
                    </a:solidFill>
                  </a:tcPr>
                </a:tc>
                <a:tc>
                  <a:txBody>
                    <a:bodyPr/>
                    <a:lstStyle/>
                    <a:p>
                      <a:pPr marL="0" indent="0" algn="ctr">
                        <a:buNone/>
                      </a:pPr>
                      <a:r>
                        <a:rPr lang="en-US" sz="1800" b="1">
                          <a:solidFill>
                            <a:schemeClr val="tx1"/>
                          </a:solidFill>
                          <a:latin typeface="Arial" pitchFamily="34" charset="0"/>
                          <a:ea typeface="Arial" pitchFamily="34" charset="-122"/>
                          <a:cs typeface="Arial" pitchFamily="34" charset="-120"/>
                        </a:rPr>
                        <a:t>-500</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B4C7E7"/>
                    </a:solidFill>
                  </a:tcPr>
                </a:tc>
                <a:tc>
                  <a:txBody>
                    <a:bodyPr/>
                    <a:lstStyle/>
                    <a:p>
                      <a:pPr marL="0" indent="0" algn="ctr">
                        <a:buNone/>
                      </a:pPr>
                      <a:r>
                        <a:rPr lang="en-US" sz="1800" b="1">
                          <a:solidFill>
                            <a:schemeClr val="tx1"/>
                          </a:solidFill>
                          <a:latin typeface="Arial" pitchFamily="34" charset="0"/>
                          <a:ea typeface="Arial" pitchFamily="34" charset="-122"/>
                          <a:cs typeface="Arial" pitchFamily="34" charset="-120"/>
                        </a:rPr>
                        <a:t>154</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B4C7E7"/>
                    </a:solidFill>
                  </a:tcPr>
                </a:tc>
                <a:tc>
                  <a:txBody>
                    <a:bodyPr/>
                    <a:lstStyle/>
                    <a:p>
                      <a:pPr marL="0" indent="0" algn="ctr">
                        <a:buNone/>
                      </a:pPr>
                      <a:r>
                        <a:rPr lang="en-US" sz="1800" b="1" dirty="0">
                          <a:solidFill>
                            <a:schemeClr val="tx1"/>
                          </a:solidFill>
                          <a:latin typeface="Arial" pitchFamily="34" charset="0"/>
                          <a:ea typeface="Arial" pitchFamily="34" charset="-122"/>
                          <a:cs typeface="Arial" pitchFamily="34" charset="-120"/>
                        </a:rPr>
                        <a:t>-654</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B4C7E7"/>
                    </a:solidFill>
                  </a:tcPr>
                </a:tc>
                <a:extLst>
                  <a:ext uri="{0D108BD9-81ED-4DB2-BD59-A6C34878D82A}">
                    <a16:rowId xmlns:a16="http://schemas.microsoft.com/office/drawing/2014/main" val="3911388382"/>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Ekstraordinære</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49</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149</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37472356"/>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Indskud</a:t>
                      </a:r>
                      <a:r>
                        <a:rPr lang="en-US" sz="1800" b="1" dirty="0">
                          <a:solidFill>
                            <a:srgbClr val="1F4E79"/>
                          </a:solidFill>
                          <a:latin typeface="Arial" pitchFamily="34" charset="0"/>
                          <a:ea typeface="Arial" pitchFamily="34" charset="-122"/>
                          <a:cs typeface="Arial" pitchFamily="34" charset="-120"/>
                        </a:rPr>
                        <a:t> </a:t>
                      </a:r>
                      <a:r>
                        <a:rPr lang="en-US" sz="1800" b="1" dirty="0" err="1">
                          <a:solidFill>
                            <a:srgbClr val="1F4E79"/>
                          </a:solidFill>
                          <a:latin typeface="Arial" pitchFamily="34" charset="0"/>
                          <a:ea typeface="Arial" pitchFamily="34" charset="-122"/>
                          <a:cs typeface="Arial" pitchFamily="34" charset="-120"/>
                        </a:rPr>
                        <a:t>medlemmer</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defTabSz="914400" rtl="0" eaLnBrk="1" latinLnBrk="0" hangingPunct="1">
                        <a:buNone/>
                      </a:pPr>
                      <a:r>
                        <a:rPr lang="en-US" sz="1800" kern="1200">
                          <a:solidFill>
                            <a:schemeClr val="tx1"/>
                          </a:solidFill>
                          <a:latin typeface="Arial" pitchFamily="34" charset="0"/>
                          <a:ea typeface="Arial" charset="0"/>
                          <a:cs typeface="Arial" pitchFamily="34" charset="-120"/>
                        </a:rPr>
                        <a:t>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948074"/>
                  </a:ext>
                </a:extLst>
              </a:tr>
              <a:tr h="233172">
                <a:tc>
                  <a:txBody>
                    <a:bodyPr/>
                    <a:lstStyle/>
                    <a:p>
                      <a:pPr marL="0" indent="0" algn="l">
                        <a:buNone/>
                      </a:pPr>
                      <a:r>
                        <a:rPr lang="en-US" sz="1800" b="1" dirty="0" err="1">
                          <a:solidFill>
                            <a:srgbClr val="1F4E79"/>
                          </a:solidFill>
                          <a:latin typeface="Arial" pitchFamily="34" charset="0"/>
                          <a:ea typeface="Arial" pitchFamily="34" charset="-122"/>
                          <a:cs typeface="Arial" pitchFamily="34" charset="-120"/>
                        </a:rPr>
                        <a:t>Hensættelse</a:t>
                      </a:r>
                      <a:endParaRPr lang="en-US" sz="1800" b="1" dirty="0">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marL="0" indent="0" algn="ctr" defTabSz="914400" rtl="0" eaLnBrk="1" latinLnBrk="0" hangingPunct="1">
                        <a:buNone/>
                      </a:pPr>
                      <a:r>
                        <a:rPr lang="en-US" sz="1800" kern="1200">
                          <a:solidFill>
                            <a:schemeClr val="tx1"/>
                          </a:solidFill>
                          <a:latin typeface="Arial" pitchFamily="34" charset="0"/>
                          <a:ea typeface="Arial" charset="0"/>
                          <a:cs typeface="Arial" pitchFamily="34" charset="-120"/>
                        </a:rPr>
                        <a:t>0</a:t>
                      </a: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a:solidFill>
                            <a:schemeClr val="tx1"/>
                          </a:solidFill>
                          <a:latin typeface="Arial" pitchFamily="34" charset="0"/>
                          <a:ea typeface="Arial" pitchFamily="34" charset="-122"/>
                          <a:cs typeface="Arial" pitchFamily="34" charset="-120"/>
                        </a:rPr>
                        <a:t>0</a:t>
                      </a:r>
                      <a:endParaRPr lang="en-US" sz="180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1800" dirty="0">
                          <a:solidFill>
                            <a:schemeClr val="tx1"/>
                          </a:solidFill>
                          <a:latin typeface="Arial" pitchFamily="34" charset="0"/>
                          <a:ea typeface="Arial" pitchFamily="34" charset="-122"/>
                          <a:cs typeface="Arial" pitchFamily="34" charset="-120"/>
                        </a:rPr>
                        <a:t>0</a:t>
                      </a:r>
                      <a:endParaRPr lang="en-US" sz="1800" dirty="0">
                        <a:solidFill>
                          <a:schemeClr val="tx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0568781"/>
                  </a:ext>
                </a:extLst>
              </a:tr>
              <a:tr h="233172">
                <a:tc>
                  <a:txBody>
                    <a:bodyPr/>
                    <a:lstStyle/>
                    <a:p>
                      <a:pPr marL="0" indent="0" algn="l">
                        <a:buNone/>
                      </a:pPr>
                      <a:r>
                        <a:rPr lang="en-US" sz="1800" b="1" dirty="0" err="1">
                          <a:solidFill>
                            <a:schemeClr val="bg1"/>
                          </a:solidFill>
                          <a:latin typeface="Arial" pitchFamily="34" charset="0"/>
                          <a:ea typeface="Arial" pitchFamily="34" charset="-122"/>
                          <a:cs typeface="Arial" pitchFamily="34" charset="-120"/>
                        </a:rPr>
                        <a:t>Driftsresultat</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351</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154</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tc>
                  <a:txBody>
                    <a:bodyPr/>
                    <a:lstStyle/>
                    <a:p>
                      <a:pPr marL="0" indent="0" algn="ctr">
                        <a:buNone/>
                      </a:pPr>
                      <a:r>
                        <a:rPr lang="en-US" sz="1800" b="1" dirty="0">
                          <a:solidFill>
                            <a:schemeClr val="bg1"/>
                          </a:solidFill>
                          <a:latin typeface="Arial" pitchFamily="34" charset="0"/>
                          <a:ea typeface="Arial" pitchFamily="34" charset="-122"/>
                          <a:cs typeface="Arial" pitchFamily="34" charset="-120"/>
                        </a:rPr>
                        <a:t>-505</a:t>
                      </a:r>
                      <a:endParaRPr lang="en-US" sz="1800" dirty="0">
                        <a:solidFill>
                          <a:schemeClr val="bg1"/>
                        </a:solidFill>
                        <a:latin typeface="Arial" charset="0"/>
                        <a:ea typeface="Arial" charset="0"/>
                        <a:cs typeface="Arial" charset="0"/>
                      </a:endParaRPr>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994621312"/>
                  </a:ext>
                </a:extLst>
              </a:tr>
            </a:tbl>
          </a:graphicData>
        </a:graphic>
      </p:graphicFrame>
    </p:spTree>
    <p:extLst>
      <p:ext uri="{BB962C8B-B14F-4D97-AF65-F5344CB8AC3E}">
        <p14:creationId xmlns:p14="http://schemas.microsoft.com/office/powerpoint/2010/main" val="69195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492E81E-AEDF-2669-B556-F668516923F7}"/>
            </a:ext>
          </a:extLst>
        </p:cNvPr>
        <p:cNvGrpSpPr/>
        <p:nvPr/>
      </p:nvGrpSpPr>
      <p:grpSpPr>
        <a:xfrm>
          <a:off x="0" y="0"/>
          <a:ext cx="0" cy="0"/>
          <a:chOff x="0" y="0"/>
          <a:chExt cx="0" cy="0"/>
        </a:xfrm>
      </p:grpSpPr>
      <p:pic>
        <p:nvPicPr>
          <p:cNvPr id="14" name="Billede 13" descr="Et billede, der indeholder græs, sky, udendørs, golf&#10;&#10;AI-genereret indhold kan være ukorrekt.">
            <a:extLst>
              <a:ext uri="{FF2B5EF4-FFF2-40B4-BE49-F238E27FC236}">
                <a16:creationId xmlns:a16="http://schemas.microsoft.com/office/drawing/2014/main" id="{1789802B-8B7C-19D2-CE4A-5A5AFE48E973}"/>
              </a:ext>
            </a:extLst>
          </p:cNvPr>
          <p:cNvPicPr>
            <a:picLocks noChangeAspect="1"/>
          </p:cNvPicPr>
          <p:nvPr/>
        </p:nvPicPr>
        <p:blipFill>
          <a:blip r:embed="rId3">
            <a:extLst>
              <a:ext uri="{28A0092B-C50C-407E-A947-70E740481C1C}">
                <a14:useLocalDpi xmlns:a14="http://schemas.microsoft.com/office/drawing/2010/main" val="0"/>
              </a:ext>
            </a:extLst>
          </a:blip>
          <a:srcRect l="32305" r="11444" b="-2"/>
          <a:stretch>
            <a:fillRect/>
          </a:stretch>
        </p:blipFill>
        <p:spPr>
          <a:xfrm>
            <a:off x="3031813" y="426843"/>
            <a:ext cx="6156276" cy="6156279"/>
          </a:xfrm>
          <a:custGeom>
            <a:avLst/>
            <a:gdLst/>
            <a:ahLst/>
            <a:cxnLst/>
            <a:rect l="l" t="t" r="r" b="b"/>
            <a:pathLst>
              <a:path w="4627646" h="4627648">
                <a:moveTo>
                  <a:pt x="2313823" y="0"/>
                </a:moveTo>
                <a:cubicBezTo>
                  <a:pt x="3591712" y="0"/>
                  <a:pt x="4627646" y="1035934"/>
                  <a:pt x="4627646" y="2313824"/>
                </a:cubicBezTo>
                <a:cubicBezTo>
                  <a:pt x="4627646" y="3591714"/>
                  <a:pt x="3591712" y="4627648"/>
                  <a:pt x="2313823" y="4627648"/>
                </a:cubicBezTo>
                <a:cubicBezTo>
                  <a:pt x="1035934" y="4627648"/>
                  <a:pt x="0" y="3591714"/>
                  <a:pt x="0" y="2313824"/>
                </a:cubicBezTo>
                <a:cubicBezTo>
                  <a:pt x="0" y="1035934"/>
                  <a:pt x="1035934" y="0"/>
                  <a:pt x="2313823" y="0"/>
                </a:cubicBezTo>
                <a:close/>
              </a:path>
            </a:pathLst>
          </a:custGeom>
        </p:spPr>
      </p:pic>
      <p:pic>
        <p:nvPicPr>
          <p:cNvPr id="16" name="Billede 15" descr="Et billede, der indeholder græs, sky, køretøj, hjul&#10;&#10;AI-genereret indhold kan være ukorrekt.">
            <a:extLst>
              <a:ext uri="{FF2B5EF4-FFF2-40B4-BE49-F238E27FC236}">
                <a16:creationId xmlns:a16="http://schemas.microsoft.com/office/drawing/2014/main" id="{125757FA-3C19-CB67-3853-6EDA9C94FDCB}"/>
              </a:ext>
            </a:extLst>
          </p:cNvPr>
          <p:cNvPicPr>
            <a:picLocks noChangeAspect="1"/>
          </p:cNvPicPr>
          <p:nvPr/>
        </p:nvPicPr>
        <p:blipFill>
          <a:blip r:embed="rId4">
            <a:extLst>
              <a:ext uri="{28A0092B-C50C-407E-A947-70E740481C1C}">
                <a14:useLocalDpi xmlns:a14="http://schemas.microsoft.com/office/drawing/2010/main" val="0"/>
              </a:ext>
            </a:extLst>
          </a:blip>
          <a:srcRect l="33208" r="17005" b="2"/>
          <a:stretch>
            <a:fillRect/>
          </a:stretch>
        </p:blipFill>
        <p:spPr>
          <a:xfrm>
            <a:off x="684706" y="1440194"/>
            <a:ext cx="3446524" cy="3893805"/>
          </a:xfrm>
          <a:custGeom>
            <a:avLst/>
            <a:gdLst/>
            <a:ahLst/>
            <a:cxnLst/>
            <a:rect l="l" t="t" r="r" b="b"/>
            <a:pathLst>
              <a:path w="2590737" h="2926956">
                <a:moveTo>
                  <a:pt x="1463478" y="0"/>
                </a:moveTo>
                <a:cubicBezTo>
                  <a:pt x="1867606" y="0"/>
                  <a:pt x="2233476" y="163805"/>
                  <a:pt x="2498313" y="428643"/>
                </a:cubicBezTo>
                <a:lnTo>
                  <a:pt x="2501029" y="431631"/>
                </a:lnTo>
                <a:lnTo>
                  <a:pt x="2445696" y="582811"/>
                </a:lnTo>
                <a:cubicBezTo>
                  <a:pt x="2374039" y="813196"/>
                  <a:pt x="2335437" y="1058145"/>
                  <a:pt x="2335437" y="1312109"/>
                </a:cubicBezTo>
                <a:cubicBezTo>
                  <a:pt x="2335437" y="1650728"/>
                  <a:pt x="2404063" y="1973319"/>
                  <a:pt x="2528166" y="2266732"/>
                </a:cubicBezTo>
                <a:lnTo>
                  <a:pt x="2590737" y="2396622"/>
                </a:lnTo>
                <a:lnTo>
                  <a:pt x="2498313" y="2498313"/>
                </a:lnTo>
                <a:cubicBezTo>
                  <a:pt x="2233476" y="2763151"/>
                  <a:pt x="1867606" y="2926956"/>
                  <a:pt x="1463478" y="2926956"/>
                </a:cubicBezTo>
                <a:cubicBezTo>
                  <a:pt x="655221" y="2926956"/>
                  <a:pt x="0" y="2271735"/>
                  <a:pt x="0" y="1463478"/>
                </a:cubicBezTo>
                <a:cubicBezTo>
                  <a:pt x="0" y="655221"/>
                  <a:pt x="655221" y="0"/>
                  <a:pt x="1463478" y="0"/>
                </a:cubicBezTo>
                <a:close/>
              </a:path>
            </a:pathLst>
          </a:custGeom>
        </p:spPr>
      </p:pic>
      <p:pic>
        <p:nvPicPr>
          <p:cNvPr id="12" name="Billede 11" descr="Et billede, der indeholder hjul, dæk, transport, Golfvogn&#10;&#10;AI-genereret indhold kan være ukorrekt.">
            <a:extLst>
              <a:ext uri="{FF2B5EF4-FFF2-40B4-BE49-F238E27FC236}">
                <a16:creationId xmlns:a16="http://schemas.microsoft.com/office/drawing/2014/main" id="{5C79C6AC-E90B-43B1-E365-50045819BFE1}"/>
              </a:ext>
            </a:extLst>
          </p:cNvPr>
          <p:cNvPicPr>
            <a:picLocks noChangeAspect="1"/>
          </p:cNvPicPr>
          <p:nvPr/>
        </p:nvPicPr>
        <p:blipFill>
          <a:blip r:embed="rId5">
            <a:extLst>
              <a:ext uri="{28A0092B-C50C-407E-A947-70E740481C1C}">
                <a14:useLocalDpi xmlns:a14="http://schemas.microsoft.com/office/drawing/2010/main" val="0"/>
              </a:ext>
            </a:extLst>
          </a:blip>
          <a:srcRect l="11015" r="17426"/>
          <a:stretch>
            <a:fillRect/>
          </a:stretch>
        </p:blipFill>
        <p:spPr>
          <a:xfrm>
            <a:off x="8069394" y="1440194"/>
            <a:ext cx="3429352" cy="3893805"/>
          </a:xfrm>
          <a:custGeom>
            <a:avLst/>
            <a:gdLst/>
            <a:ahLst/>
            <a:cxnLst/>
            <a:rect l="l" t="t" r="r" b="b"/>
            <a:pathLst>
              <a:path w="2577829" h="2926956">
                <a:moveTo>
                  <a:pt x="1114351" y="0"/>
                </a:moveTo>
                <a:cubicBezTo>
                  <a:pt x="1922608" y="0"/>
                  <a:pt x="2577829" y="655221"/>
                  <a:pt x="2577829" y="1463478"/>
                </a:cubicBezTo>
                <a:cubicBezTo>
                  <a:pt x="2577829" y="2271735"/>
                  <a:pt x="1922608" y="2926956"/>
                  <a:pt x="1114351" y="2926956"/>
                </a:cubicBezTo>
                <a:cubicBezTo>
                  <a:pt x="710223" y="2926956"/>
                  <a:pt x="344353" y="2763151"/>
                  <a:pt x="79516" y="2498313"/>
                </a:cubicBezTo>
                <a:lnTo>
                  <a:pt x="0" y="2410824"/>
                </a:lnTo>
                <a:lnTo>
                  <a:pt x="69413" y="2266732"/>
                </a:lnTo>
                <a:cubicBezTo>
                  <a:pt x="193516" y="1973319"/>
                  <a:pt x="262142" y="1650728"/>
                  <a:pt x="262142" y="1312109"/>
                </a:cubicBezTo>
                <a:cubicBezTo>
                  <a:pt x="262142" y="1058145"/>
                  <a:pt x="223540" y="813196"/>
                  <a:pt x="151883" y="582811"/>
                </a:cubicBezTo>
                <a:lnTo>
                  <a:pt x="91478" y="417771"/>
                </a:lnTo>
                <a:lnTo>
                  <a:pt x="183443" y="334187"/>
                </a:lnTo>
                <a:cubicBezTo>
                  <a:pt x="436418" y="125413"/>
                  <a:pt x="760739" y="0"/>
                  <a:pt x="1114351" y="0"/>
                </a:cubicBezTo>
                <a:close/>
              </a:path>
            </a:pathLst>
          </a:custGeom>
        </p:spPr>
      </p:pic>
      <p:pic>
        <p:nvPicPr>
          <p:cNvPr id="3" name="Billede 2" descr="Et billede, der indeholder tekst, Grafik, logo, grafisk design">
            <a:extLst>
              <a:ext uri="{FF2B5EF4-FFF2-40B4-BE49-F238E27FC236}">
                <a16:creationId xmlns:a16="http://schemas.microsoft.com/office/drawing/2014/main" id="{C99F46E3-D739-D617-FF90-9B47792520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220037300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782E5-8E29-E750-70CF-4D924101E51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F1C64FE-DDD8-A555-ED61-94DC02516D64}"/>
              </a:ext>
            </a:extLst>
          </p:cNvPr>
          <p:cNvSpPr>
            <a:spLocks noGrp="1"/>
          </p:cNvSpPr>
          <p:nvPr>
            <p:ph type="title"/>
          </p:nvPr>
        </p:nvSpPr>
        <p:spPr>
          <a:xfrm>
            <a:off x="1194098" y="-173655"/>
            <a:ext cx="7703393" cy="1338696"/>
          </a:xfrm>
        </p:spPr>
        <p:txBody>
          <a:bodyPr vert="horz" lIns="91440" tIns="45720" rIns="91440" bIns="45720" rtlCol="0" anchor="ctr">
            <a:normAutofit/>
          </a:bodyPr>
          <a:lstStyle/>
          <a:p>
            <a:r>
              <a:rPr lang="en-US" sz="6600" b="1" dirty="0"/>
              <a:t>KONTINGENTFORSLAG</a:t>
            </a:r>
          </a:p>
        </p:txBody>
      </p:sp>
      <p:pic>
        <p:nvPicPr>
          <p:cNvPr id="3" name="Billede 2" descr="Et billede, der indeholder tekst, Grafik, logo, grafisk design">
            <a:extLst>
              <a:ext uri="{FF2B5EF4-FFF2-40B4-BE49-F238E27FC236}">
                <a16:creationId xmlns:a16="http://schemas.microsoft.com/office/drawing/2014/main" id="{CC517C9D-B07F-12A6-0A3E-5CC84D0903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3196" y="197032"/>
            <a:ext cx="1078927" cy="968009"/>
          </a:xfrm>
          <a:prstGeom prst="rect">
            <a:avLst/>
          </a:prstGeom>
        </p:spPr>
      </p:pic>
      <p:graphicFrame>
        <p:nvGraphicFramePr>
          <p:cNvPr id="12" name="Tabel 11">
            <a:extLst>
              <a:ext uri="{FF2B5EF4-FFF2-40B4-BE49-F238E27FC236}">
                <a16:creationId xmlns:a16="http://schemas.microsoft.com/office/drawing/2014/main" id="{84D5BA4E-4620-BF3A-0880-8D2206175E56}"/>
              </a:ext>
            </a:extLst>
          </p:cNvPr>
          <p:cNvGraphicFramePr>
            <a:graphicFrameLocks noGrp="1"/>
          </p:cNvGraphicFramePr>
          <p:nvPr>
            <p:extLst>
              <p:ext uri="{D42A27DB-BD31-4B8C-83A1-F6EECF244321}">
                <p14:modId xmlns:p14="http://schemas.microsoft.com/office/powerpoint/2010/main" val="1160510402"/>
              </p:ext>
            </p:extLst>
          </p:nvPr>
        </p:nvGraphicFramePr>
        <p:xfrm>
          <a:off x="1346200" y="889453"/>
          <a:ext cx="9499600" cy="5943600"/>
        </p:xfrm>
        <a:graphic>
          <a:graphicData uri="http://schemas.openxmlformats.org/drawingml/2006/table">
            <a:tbl>
              <a:tblPr/>
              <a:tblGrid>
                <a:gridCol w="3717235">
                  <a:extLst>
                    <a:ext uri="{9D8B030D-6E8A-4147-A177-3AD203B41FA5}">
                      <a16:colId xmlns:a16="http://schemas.microsoft.com/office/drawing/2014/main" val="2121053436"/>
                    </a:ext>
                  </a:extLst>
                </a:gridCol>
                <a:gridCol w="1755361">
                  <a:extLst>
                    <a:ext uri="{9D8B030D-6E8A-4147-A177-3AD203B41FA5}">
                      <a16:colId xmlns:a16="http://schemas.microsoft.com/office/drawing/2014/main" val="2279526759"/>
                    </a:ext>
                  </a:extLst>
                </a:gridCol>
                <a:gridCol w="1755361">
                  <a:extLst>
                    <a:ext uri="{9D8B030D-6E8A-4147-A177-3AD203B41FA5}">
                      <a16:colId xmlns:a16="http://schemas.microsoft.com/office/drawing/2014/main" val="3352585004"/>
                    </a:ext>
                  </a:extLst>
                </a:gridCol>
                <a:gridCol w="2271643">
                  <a:extLst>
                    <a:ext uri="{9D8B030D-6E8A-4147-A177-3AD203B41FA5}">
                      <a16:colId xmlns:a16="http://schemas.microsoft.com/office/drawing/2014/main" val="3086336648"/>
                    </a:ext>
                  </a:extLst>
                </a:gridCol>
              </a:tblGrid>
              <a:tr h="387105">
                <a:tc>
                  <a:txBody>
                    <a:bodyPr/>
                    <a:lstStyle/>
                    <a:p>
                      <a:pPr marL="0" indent="0" algn="l">
                        <a:buNone/>
                      </a:pPr>
                      <a:r>
                        <a:rPr lang="en-US" sz="2400" b="1" dirty="0" err="1">
                          <a:solidFill>
                            <a:srgbClr val="FFFFFF"/>
                          </a:solidFill>
                        </a:rPr>
                        <a:t>Medlemskab</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400" b="1" dirty="0">
                          <a:solidFill>
                            <a:srgbClr val="FFFFFF"/>
                          </a:solidFill>
                        </a:rPr>
                        <a:t>2026</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400" b="1" dirty="0">
                          <a:solidFill>
                            <a:srgbClr val="FFFFFF"/>
                          </a:solidFill>
                        </a:rPr>
                        <a:t>+2%</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tc>
                  <a:txBody>
                    <a:bodyPr/>
                    <a:lstStyle/>
                    <a:p>
                      <a:pPr marL="0" indent="0" algn="ctr">
                        <a:buNone/>
                      </a:pPr>
                      <a:r>
                        <a:rPr lang="en-US" sz="2400" b="1" dirty="0" err="1">
                          <a:solidFill>
                            <a:srgbClr val="FFFFFF"/>
                          </a:solidFill>
                        </a:rPr>
                        <a:t>Forslag</a:t>
                      </a:r>
                      <a:r>
                        <a:rPr lang="en-US" sz="2400" b="1" dirty="0">
                          <a:solidFill>
                            <a:srgbClr val="FFFFFF"/>
                          </a:solidFill>
                        </a:rPr>
                        <a:t> 2027</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271528203"/>
                  </a:ext>
                </a:extLst>
              </a:tr>
              <a:tr h="387105">
                <a:tc>
                  <a:txBody>
                    <a:bodyPr/>
                    <a:lstStyle/>
                    <a:p>
                      <a:pPr marL="0" indent="0" algn="l">
                        <a:buNone/>
                      </a:pPr>
                      <a:r>
                        <a:rPr lang="en-US" sz="2000" b="1" dirty="0">
                          <a:solidFill>
                            <a:srgbClr val="1F4E79"/>
                          </a:solidFill>
                        </a:rPr>
                        <a:t>Flex</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dirty="0">
                          <a:solidFill>
                            <a:srgbClr val="333333"/>
                          </a:solidFill>
                        </a:rPr>
                        <a:t>2.15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2.193</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2.20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3040034146"/>
                  </a:ext>
                </a:extLst>
              </a:tr>
              <a:tr h="387105">
                <a:tc>
                  <a:txBody>
                    <a:bodyPr/>
                    <a:lstStyle/>
                    <a:p>
                      <a:pPr marL="0" indent="0" algn="l">
                        <a:buNone/>
                      </a:pPr>
                      <a:r>
                        <a:rPr lang="en-US" sz="2000" b="1" dirty="0" err="1">
                          <a:solidFill>
                            <a:srgbClr val="1F4E79"/>
                          </a:solidFill>
                        </a:rPr>
                        <a:t>Hverdagsmedlem</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5.625</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5.738</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5.75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705602562"/>
                  </a:ext>
                </a:extLst>
              </a:tr>
              <a:tr h="387105">
                <a:tc>
                  <a:txBody>
                    <a:bodyPr/>
                    <a:lstStyle/>
                    <a:p>
                      <a:pPr marL="0" indent="0" algn="l">
                        <a:buNone/>
                      </a:pPr>
                      <a:r>
                        <a:rPr lang="en-US" sz="2000" b="1" dirty="0">
                          <a:solidFill>
                            <a:srgbClr val="1F4E79"/>
                          </a:solidFill>
                        </a:rPr>
                        <a:t>Junior Plus</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dirty="0">
                          <a:solidFill>
                            <a:srgbClr val="333333"/>
                          </a:solidFill>
                        </a:rPr>
                        <a:t>2.50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2.55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2.55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686220521"/>
                  </a:ext>
                </a:extLst>
              </a:tr>
              <a:tr h="387105">
                <a:tc>
                  <a:txBody>
                    <a:bodyPr/>
                    <a:lstStyle/>
                    <a:p>
                      <a:pPr marL="0" indent="0" algn="l">
                        <a:buNone/>
                      </a:pPr>
                      <a:r>
                        <a:rPr lang="en-US" sz="2000" b="1" dirty="0">
                          <a:solidFill>
                            <a:srgbClr val="1F4E79"/>
                          </a:solidFill>
                        </a:rPr>
                        <a:t>Junior </a:t>
                      </a:r>
                      <a:r>
                        <a:rPr lang="en-US" sz="2000" b="1" dirty="0" err="1">
                          <a:solidFill>
                            <a:srgbClr val="1F4E79"/>
                          </a:solidFill>
                        </a:rPr>
                        <a:t>uden</a:t>
                      </a:r>
                      <a:r>
                        <a:rPr lang="en-US" sz="2000" b="1" dirty="0">
                          <a:solidFill>
                            <a:srgbClr val="1F4E79"/>
                          </a:solidFill>
                        </a:rPr>
                        <a:t> </a:t>
                      </a:r>
                      <a:r>
                        <a:rPr lang="en-US" sz="2000" b="1" dirty="0" err="1">
                          <a:solidFill>
                            <a:srgbClr val="1F4E79"/>
                          </a:solidFill>
                        </a:rPr>
                        <a:t>banetilladelse</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1.65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1.683</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a:solidFill>
                            <a:srgbClr val="FFFFFF"/>
                          </a:solidFill>
                        </a:rPr>
                        <a:t>1.700</a:t>
                      </a:r>
                      <a:endParaRPr lang="en-US" sz="240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3239190964"/>
                  </a:ext>
                </a:extLst>
              </a:tr>
              <a:tr h="387105">
                <a:tc>
                  <a:txBody>
                    <a:bodyPr/>
                    <a:lstStyle/>
                    <a:p>
                      <a:pPr marL="0" indent="0" algn="l">
                        <a:buNone/>
                      </a:pPr>
                      <a:r>
                        <a:rPr lang="en-US" sz="2000" b="1" dirty="0" err="1">
                          <a:solidFill>
                            <a:srgbClr val="1F4E79"/>
                          </a:solidFill>
                        </a:rPr>
                        <a:t>Korthulsbane</a:t>
                      </a:r>
                      <a:r>
                        <a:rPr lang="en-US" sz="2000" b="1" dirty="0">
                          <a:solidFill>
                            <a:srgbClr val="1F4E79"/>
                          </a:solidFill>
                        </a:rPr>
                        <a:t> </a:t>
                      </a:r>
                      <a:r>
                        <a:rPr lang="en-US" sz="2000" b="1" dirty="0" err="1">
                          <a:solidFill>
                            <a:srgbClr val="1F4E79"/>
                          </a:solidFill>
                        </a:rPr>
                        <a:t>uden</a:t>
                      </a:r>
                      <a:r>
                        <a:rPr lang="en-US" sz="2000" b="1" dirty="0">
                          <a:solidFill>
                            <a:srgbClr val="1F4E79"/>
                          </a:solidFill>
                        </a:rPr>
                        <a:t> </a:t>
                      </a:r>
                      <a:r>
                        <a:rPr lang="en-US" sz="2000" b="1" dirty="0" err="1">
                          <a:solidFill>
                            <a:srgbClr val="1F4E79"/>
                          </a:solidFill>
                        </a:rPr>
                        <a:t>indskud</a:t>
                      </a:r>
                      <a:r>
                        <a:rPr lang="en-US" sz="2000" b="1" dirty="0">
                          <a:solidFill>
                            <a:srgbClr val="1F4E79"/>
                          </a:solidFill>
                        </a:rPr>
                        <a:t> </a:t>
                      </a:r>
                      <a:r>
                        <a:rPr lang="en-US" sz="2000" b="1" dirty="0" err="1">
                          <a:solidFill>
                            <a:srgbClr val="1F4E79"/>
                          </a:solidFill>
                        </a:rPr>
                        <a:t>år</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a:solidFill>
                            <a:srgbClr val="333333"/>
                          </a:solidFill>
                        </a:rPr>
                        <a:t>4.575</a:t>
                      </a:r>
                      <a:endParaRPr lang="en-US" sz="2400" b="1"/>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4.667</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a:solidFill>
                            <a:srgbClr val="FFFFFF"/>
                          </a:solidFill>
                        </a:rPr>
                        <a:t>4.675</a:t>
                      </a:r>
                      <a:endParaRPr lang="en-US" sz="240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3060625380"/>
                  </a:ext>
                </a:extLst>
              </a:tr>
              <a:tr h="387105">
                <a:tc>
                  <a:txBody>
                    <a:bodyPr/>
                    <a:lstStyle/>
                    <a:p>
                      <a:pPr marL="0" indent="0" algn="l">
                        <a:buNone/>
                      </a:pPr>
                      <a:r>
                        <a:rPr lang="en-US" sz="2000" b="1" dirty="0" err="1">
                          <a:solidFill>
                            <a:srgbClr val="1F4E79"/>
                          </a:solidFill>
                        </a:rPr>
                        <a:t>Korthulsbane</a:t>
                      </a:r>
                      <a:r>
                        <a:rPr lang="en-US" sz="2000" b="1" dirty="0">
                          <a:solidFill>
                            <a:srgbClr val="1F4E79"/>
                          </a:solidFill>
                        </a:rPr>
                        <a:t> med </a:t>
                      </a:r>
                      <a:r>
                        <a:rPr lang="en-US" sz="2000" b="1" dirty="0" err="1">
                          <a:solidFill>
                            <a:srgbClr val="1F4E79"/>
                          </a:solidFill>
                        </a:rPr>
                        <a:t>indskud</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4.075</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4.157</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a:solidFill>
                            <a:srgbClr val="FFFFFF"/>
                          </a:solidFill>
                        </a:rPr>
                        <a:t>4.150</a:t>
                      </a:r>
                      <a:endParaRPr lang="en-US" sz="240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929506018"/>
                  </a:ext>
                </a:extLst>
              </a:tr>
              <a:tr h="387105">
                <a:tc>
                  <a:txBody>
                    <a:bodyPr/>
                    <a:lstStyle/>
                    <a:p>
                      <a:pPr marL="0" indent="0" algn="l">
                        <a:buNone/>
                      </a:pPr>
                      <a:r>
                        <a:rPr lang="en-US" sz="2000" b="1" dirty="0" err="1">
                          <a:solidFill>
                            <a:srgbClr val="1F4E79"/>
                          </a:solidFill>
                        </a:rPr>
                        <a:t>Legegolfer</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dirty="0">
                          <a:solidFill>
                            <a:srgbClr val="333333"/>
                          </a:solidFill>
                        </a:rPr>
                        <a:t>425</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434</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45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1296192415"/>
                  </a:ext>
                </a:extLst>
              </a:tr>
              <a:tr h="387105">
                <a:tc>
                  <a:txBody>
                    <a:bodyPr/>
                    <a:lstStyle/>
                    <a:p>
                      <a:pPr marL="0" indent="0" algn="l">
                        <a:buNone/>
                      </a:pPr>
                      <a:r>
                        <a:rPr lang="en-US" sz="2000" b="1" dirty="0">
                          <a:solidFill>
                            <a:srgbClr val="1F4E79"/>
                          </a:solidFill>
                        </a:rPr>
                        <a:t>Long Distance</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4.20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4.284</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a:solidFill>
                            <a:srgbClr val="FFFFFF"/>
                          </a:solidFill>
                        </a:rPr>
                        <a:t>4.300</a:t>
                      </a:r>
                      <a:endParaRPr lang="en-US" sz="240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1451505062"/>
                  </a:ext>
                </a:extLst>
              </a:tr>
              <a:tr h="387105">
                <a:tc>
                  <a:txBody>
                    <a:bodyPr/>
                    <a:lstStyle/>
                    <a:p>
                      <a:pPr marL="0" indent="0" algn="l">
                        <a:buNone/>
                      </a:pPr>
                      <a:r>
                        <a:rPr lang="en-US" sz="2000" b="1" dirty="0" err="1">
                          <a:solidFill>
                            <a:srgbClr val="1F4E79"/>
                          </a:solidFill>
                        </a:rPr>
                        <a:t>Passiv</a:t>
                      </a:r>
                      <a:endParaRPr lang="en-US" sz="20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dirty="0">
                          <a:solidFill>
                            <a:srgbClr val="333333"/>
                          </a:solidFill>
                        </a:rPr>
                        <a:t>1.075</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1.097</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1.10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3855328574"/>
                  </a:ext>
                </a:extLst>
              </a:tr>
              <a:tr h="387105">
                <a:tc>
                  <a:txBody>
                    <a:bodyPr/>
                    <a:lstStyle/>
                    <a:p>
                      <a:pPr marL="0" indent="0" algn="l">
                        <a:buNone/>
                      </a:pPr>
                      <a:r>
                        <a:rPr lang="en-US" sz="2000" b="1">
                          <a:solidFill>
                            <a:srgbClr val="1F4E79"/>
                          </a:solidFill>
                        </a:rPr>
                        <a:t>Senior med indskud år</a:t>
                      </a:r>
                      <a:endParaRPr lang="en-US" sz="2000" b="1"/>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7.70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7.854</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7.85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1085273075"/>
                  </a:ext>
                </a:extLst>
              </a:tr>
              <a:tr h="387105">
                <a:tc>
                  <a:txBody>
                    <a:bodyPr/>
                    <a:lstStyle/>
                    <a:p>
                      <a:pPr marL="0" indent="0" algn="l">
                        <a:buNone/>
                      </a:pPr>
                      <a:r>
                        <a:rPr lang="en-US" sz="2000" b="1">
                          <a:solidFill>
                            <a:srgbClr val="1F4E79"/>
                          </a:solidFill>
                        </a:rPr>
                        <a:t>Senior uden indskud</a:t>
                      </a:r>
                      <a:endParaRPr lang="en-US" sz="2000" b="1"/>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marL="0" indent="0" algn="ctr">
                        <a:buNone/>
                      </a:pPr>
                      <a:r>
                        <a:rPr lang="en-US" sz="2400" b="1" dirty="0">
                          <a:solidFill>
                            <a:srgbClr val="333333"/>
                          </a:solidFill>
                        </a:rPr>
                        <a:t>8.30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8.466</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8.45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1363063819"/>
                  </a:ext>
                </a:extLst>
              </a:tr>
              <a:tr h="387105">
                <a:tc>
                  <a:txBody>
                    <a:bodyPr/>
                    <a:lstStyle/>
                    <a:p>
                      <a:pPr marL="0" indent="0" algn="l">
                        <a:buNone/>
                      </a:pPr>
                      <a:r>
                        <a:rPr lang="en-US" sz="2000" b="1">
                          <a:solidFill>
                            <a:srgbClr val="1F4E79"/>
                          </a:solidFill>
                        </a:rPr>
                        <a:t>Yngling år</a:t>
                      </a:r>
                      <a:endParaRPr lang="en-US" sz="2000" b="1"/>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5F5F5"/>
                    </a:solidFill>
                  </a:tcPr>
                </a:tc>
                <a:tc>
                  <a:txBody>
                    <a:bodyPr/>
                    <a:lstStyle/>
                    <a:p>
                      <a:pPr marL="0" indent="0" algn="ctr">
                        <a:buNone/>
                      </a:pPr>
                      <a:r>
                        <a:rPr lang="en-US" sz="2400" b="1" dirty="0">
                          <a:solidFill>
                            <a:srgbClr val="333333"/>
                          </a:solidFill>
                        </a:rPr>
                        <a:t>2.750</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95000"/>
                      </a:schemeClr>
                    </a:solidFill>
                  </a:tcPr>
                </a:tc>
                <a:tc>
                  <a:txBody>
                    <a:bodyPr/>
                    <a:lstStyle/>
                    <a:p>
                      <a:pPr marL="0" indent="0" algn="ctr">
                        <a:buNone/>
                      </a:pPr>
                      <a:r>
                        <a:rPr lang="en-US" sz="2400" b="1" i="1" dirty="0">
                          <a:solidFill>
                            <a:srgbClr val="555555"/>
                          </a:solidFill>
                        </a:rPr>
                        <a:t>2.805</a:t>
                      </a:r>
                      <a:endParaRPr lang="en-US" sz="2400" b="1"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marL="0" indent="0" algn="ctr">
                        <a:buNone/>
                      </a:pPr>
                      <a:r>
                        <a:rPr lang="en-US" sz="2400" b="1" dirty="0">
                          <a:solidFill>
                            <a:srgbClr val="FFFFFF"/>
                          </a:solidFill>
                        </a:rPr>
                        <a:t>2.800</a:t>
                      </a:r>
                      <a:endParaRPr lang="en-US" sz="2400" dirty="0"/>
                    </a:p>
                  </a:txBody>
                  <a:tcP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1F4E79"/>
                    </a:solidFill>
                  </a:tcPr>
                </a:tc>
                <a:extLst>
                  <a:ext uri="{0D108BD9-81ED-4DB2-BD59-A6C34878D82A}">
                    <a16:rowId xmlns:a16="http://schemas.microsoft.com/office/drawing/2014/main" val="2150841731"/>
                  </a:ext>
                </a:extLst>
              </a:tr>
            </a:tbl>
          </a:graphicData>
        </a:graphic>
      </p:graphicFrame>
      <p:pic>
        <p:nvPicPr>
          <p:cNvPr id="13" name="Pladsholder til indhold 4">
            <a:extLst>
              <a:ext uri="{FF2B5EF4-FFF2-40B4-BE49-F238E27FC236}">
                <a16:creationId xmlns:a16="http://schemas.microsoft.com/office/drawing/2014/main" id="{F278F659-52E9-D164-4371-68D61EDF6B45}"/>
              </a:ext>
            </a:extLst>
          </p:cNvPr>
          <p:cNvPicPr>
            <a:picLocks noChangeAspect="1"/>
          </p:cNvPicPr>
          <p:nvPr/>
        </p:nvPicPr>
        <p:blipFill>
          <a:blip r:embed="rId4">
            <a:extLst>
              <a:ext uri="{28A0092B-C50C-407E-A947-70E740481C1C}">
                <a14:useLocalDpi xmlns:a14="http://schemas.microsoft.com/office/drawing/2010/main" val="0"/>
              </a:ext>
            </a:extLst>
          </a:blip>
          <a:srcRect l="43471" r="43471"/>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Tree>
    <p:extLst>
      <p:ext uri="{BB962C8B-B14F-4D97-AF65-F5344CB8AC3E}">
        <p14:creationId xmlns:p14="http://schemas.microsoft.com/office/powerpoint/2010/main" val="149408428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ADFCC-4B94-0378-FA99-E6B40B16F6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B7BCDA5-65AB-8EF8-55F6-A051042D4067}"/>
              </a:ext>
            </a:extLst>
          </p:cNvPr>
          <p:cNvSpPr>
            <a:spLocks noGrp="1"/>
          </p:cNvSpPr>
          <p:nvPr>
            <p:ph type="title"/>
          </p:nvPr>
        </p:nvSpPr>
        <p:spPr>
          <a:xfrm>
            <a:off x="1589896" y="197032"/>
            <a:ext cx="8981687" cy="1338696"/>
          </a:xfrm>
        </p:spPr>
        <p:txBody>
          <a:bodyPr vert="horz" lIns="91440" tIns="45720" rIns="91440" bIns="45720" rtlCol="0" anchor="ctr">
            <a:normAutofit fontScale="90000"/>
          </a:bodyPr>
          <a:lstStyle/>
          <a:p>
            <a:r>
              <a:rPr lang="en-US" sz="6600" b="1"/>
              <a:t>FORSLAG FRA BESTYRELSEN</a:t>
            </a:r>
          </a:p>
        </p:txBody>
      </p:sp>
      <p:pic>
        <p:nvPicPr>
          <p:cNvPr id="5" name="Pladsholder til indhold 4">
            <a:extLst>
              <a:ext uri="{FF2B5EF4-FFF2-40B4-BE49-F238E27FC236}">
                <a16:creationId xmlns:a16="http://schemas.microsoft.com/office/drawing/2014/main" id="{35363E6C-4D21-C7F7-2AB3-94EF8959635B}"/>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Pladsholder til indhold 3">
            <a:extLst>
              <a:ext uri="{FF2B5EF4-FFF2-40B4-BE49-F238E27FC236}">
                <a16:creationId xmlns:a16="http://schemas.microsoft.com/office/drawing/2014/main" id="{17C9BF83-2D24-F3D3-0961-E9606A5C4A1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194098" y="1535728"/>
            <a:ext cx="10032702" cy="4395172"/>
          </a:xfrm>
        </p:spPr>
        <p:txBody>
          <a:bodyPr>
            <a:normAutofit/>
          </a:bodyPr>
          <a:lstStyle/>
          <a:p>
            <a:pPr marL="457200" lvl="1" indent="0">
              <a:buNone/>
            </a:pPr>
            <a:r>
              <a:rPr lang="da-DK" sz="4000"/>
              <a:t>1. Ifm. bestyrelsens undersøgelser, og hvis der er en fornuftig forretningsplan for igangsætning af et nyt ”</a:t>
            </a:r>
            <a:r>
              <a:rPr lang="da-DK" sz="4000" err="1"/>
              <a:t>Trackmanhus</a:t>
            </a:r>
            <a:r>
              <a:rPr lang="da-DK" sz="4000"/>
              <a:t>”, ønskes generalforsamlingens godkendelse (jf. vedtægternes punkt 13, stk. 3) til optagelse af lån og pantsætning på mere end kr. 750.000</a:t>
            </a:r>
          </a:p>
        </p:txBody>
      </p:sp>
      <p:pic>
        <p:nvPicPr>
          <p:cNvPr id="3" name="Billede 2" descr="Et billede, der indeholder tekst, Grafik, logo, grafisk design">
            <a:extLst>
              <a:ext uri="{FF2B5EF4-FFF2-40B4-BE49-F238E27FC236}">
                <a16:creationId xmlns:a16="http://schemas.microsoft.com/office/drawing/2014/main" id="{1458E9DB-EAC6-3FF9-24E4-1AD0565083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28204916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BE30E-5325-A878-E910-19239764B6C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594BD96-833A-9574-A392-1C05602BCF6B}"/>
              </a:ext>
            </a:extLst>
          </p:cNvPr>
          <p:cNvSpPr>
            <a:spLocks noGrp="1"/>
          </p:cNvSpPr>
          <p:nvPr>
            <p:ph type="title"/>
          </p:nvPr>
        </p:nvSpPr>
        <p:spPr>
          <a:xfrm>
            <a:off x="4333097" y="0"/>
            <a:ext cx="6781800" cy="1338696"/>
          </a:xfrm>
        </p:spPr>
        <p:txBody>
          <a:bodyPr vert="horz" lIns="91440" tIns="45720" rIns="91440" bIns="45720" rtlCol="0" anchor="ctr">
            <a:normAutofit/>
          </a:bodyPr>
          <a:lstStyle/>
          <a:p>
            <a:r>
              <a:rPr lang="en-US" sz="6600" b="1" dirty="0"/>
              <a:t>VALG AF DIRIGENT</a:t>
            </a:r>
          </a:p>
        </p:txBody>
      </p:sp>
      <p:pic>
        <p:nvPicPr>
          <p:cNvPr id="5" name="Pladsholder til indhold 4">
            <a:extLst>
              <a:ext uri="{FF2B5EF4-FFF2-40B4-BE49-F238E27FC236}">
                <a16:creationId xmlns:a16="http://schemas.microsoft.com/office/drawing/2014/main" id="{BBC2A532-181A-89EB-142C-DA8ECD55D7CF}"/>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9469" r="29469"/>
          <a:stretch/>
        </p:blipFill>
        <p:spPr>
          <a:xfrm>
            <a:off x="0" y="10"/>
            <a:ext cx="3754739"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86D0E28A-CA91-454C-7A81-017538A375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8" name="Billede 7">
            <a:extLst>
              <a:ext uri="{FF2B5EF4-FFF2-40B4-BE49-F238E27FC236}">
                <a16:creationId xmlns:a16="http://schemas.microsoft.com/office/drawing/2014/main" id="{1FA33416-D1EB-0CA3-F4B7-F5A17E68D918}"/>
              </a:ext>
            </a:extLst>
          </p:cNvPr>
          <p:cNvPicPr>
            <a:picLocks noChangeAspect="1"/>
          </p:cNvPicPr>
          <p:nvPr/>
        </p:nvPicPr>
        <p:blipFill>
          <a:blip r:embed="rId5"/>
          <a:stretch>
            <a:fillRect/>
          </a:stretch>
        </p:blipFill>
        <p:spPr>
          <a:xfrm>
            <a:off x="4333097" y="4152276"/>
            <a:ext cx="3012869" cy="1443139"/>
          </a:xfrm>
          <a:prstGeom prst="rect">
            <a:avLst/>
          </a:prstGeom>
        </p:spPr>
      </p:pic>
      <p:sp>
        <p:nvSpPr>
          <p:cNvPr id="9" name="Tekstfelt 2">
            <a:extLst>
              <a:ext uri="{FF2B5EF4-FFF2-40B4-BE49-F238E27FC236}">
                <a16:creationId xmlns:a16="http://schemas.microsoft.com/office/drawing/2014/main" id="{2B522019-C1F1-FEDE-B068-D6C28917F865}"/>
              </a:ext>
            </a:extLst>
          </p:cNvPr>
          <p:cNvSpPr txBox="1">
            <a:spLocks noChangeArrowheads="1"/>
          </p:cNvSpPr>
          <p:nvPr/>
        </p:nvSpPr>
        <p:spPr bwMode="auto">
          <a:xfrm>
            <a:off x="4333097" y="1868273"/>
            <a:ext cx="5783738" cy="2284003"/>
          </a:xfrm>
          <a:prstGeom prst="rect">
            <a:avLst/>
          </a:prstGeom>
          <a:noFill/>
          <a:ln w="9525">
            <a:noFill/>
            <a:miter lim="800000"/>
            <a:headEnd/>
            <a:tailEnd/>
          </a:ln>
        </p:spPr>
        <p:txBody>
          <a:bodyPr wrap="square" lIns="67355" tIns="33677" rIns="67355" bIns="33677">
            <a:spAutoFit/>
          </a:bodyPr>
          <a:lstStyle/>
          <a:p>
            <a:r>
              <a:rPr lang="da-DK" sz="3600"/>
              <a:t>Bestyrelsen foreslår valg af</a:t>
            </a:r>
          </a:p>
          <a:p>
            <a:endParaRPr lang="da-DK" sz="3600"/>
          </a:p>
          <a:p>
            <a:r>
              <a:rPr lang="da-DK" sz="3600"/>
              <a:t>Advokat</a:t>
            </a:r>
          </a:p>
          <a:p>
            <a:r>
              <a:rPr lang="da-DK" sz="3600" b="1"/>
              <a:t>Morten Bünemann Dalsgaard</a:t>
            </a:r>
          </a:p>
        </p:txBody>
      </p:sp>
    </p:spTree>
    <p:extLst>
      <p:ext uri="{BB962C8B-B14F-4D97-AF65-F5344CB8AC3E}">
        <p14:creationId xmlns:p14="http://schemas.microsoft.com/office/powerpoint/2010/main" val="40157032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5B1B7-AD68-7CC8-1596-41C8AD7C96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E35B597-B603-26D4-3DE2-56CF86D0346D}"/>
              </a:ext>
            </a:extLst>
          </p:cNvPr>
          <p:cNvSpPr>
            <a:spLocks noGrp="1"/>
          </p:cNvSpPr>
          <p:nvPr>
            <p:ph type="title"/>
          </p:nvPr>
        </p:nvSpPr>
        <p:spPr>
          <a:xfrm>
            <a:off x="1589897" y="197032"/>
            <a:ext cx="8944364" cy="1338696"/>
          </a:xfrm>
        </p:spPr>
        <p:txBody>
          <a:bodyPr vert="horz" lIns="91440" tIns="45720" rIns="91440" bIns="45720" rtlCol="0" anchor="ctr">
            <a:normAutofit fontScale="90000"/>
          </a:bodyPr>
          <a:lstStyle/>
          <a:p>
            <a:r>
              <a:rPr lang="en-US" sz="6600" b="1"/>
              <a:t>FORSLAG FRA MEDLEMMER</a:t>
            </a:r>
          </a:p>
        </p:txBody>
      </p:sp>
      <p:pic>
        <p:nvPicPr>
          <p:cNvPr id="5" name="Pladsholder til indhold 4">
            <a:extLst>
              <a:ext uri="{FF2B5EF4-FFF2-40B4-BE49-F238E27FC236}">
                <a16:creationId xmlns:a16="http://schemas.microsoft.com/office/drawing/2014/main" id="{EA4DE889-BDF9-4575-65D5-773488F20DC3}"/>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Pladsholder til indhold 3">
            <a:extLst>
              <a:ext uri="{FF2B5EF4-FFF2-40B4-BE49-F238E27FC236}">
                <a16:creationId xmlns:a16="http://schemas.microsoft.com/office/drawing/2014/main" id="{FB30487E-0CA4-FB55-E9FB-11C28FAFA82B}"/>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194098" y="1535728"/>
            <a:ext cx="6781800" cy="3900730"/>
          </a:xfrm>
        </p:spPr>
        <p:txBody>
          <a:bodyPr>
            <a:normAutofit/>
          </a:bodyPr>
          <a:lstStyle/>
          <a:p>
            <a:pPr marL="457200" lvl="1" indent="0">
              <a:buNone/>
            </a:pPr>
            <a:r>
              <a:rPr lang="da-DK" sz="4000"/>
              <a:t>Ingen forslag indkommet</a:t>
            </a:r>
          </a:p>
        </p:txBody>
      </p:sp>
      <p:pic>
        <p:nvPicPr>
          <p:cNvPr id="3" name="Billede 2" descr="Et billede, der indeholder tekst, Grafik, logo, grafisk design">
            <a:extLst>
              <a:ext uri="{FF2B5EF4-FFF2-40B4-BE49-F238E27FC236}">
                <a16:creationId xmlns:a16="http://schemas.microsoft.com/office/drawing/2014/main" id="{BA6B2199-2D11-FA0D-47F2-455DA3112E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328053785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9961D-AADD-A06A-392A-FC445F0B52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08937A7-8A87-1839-0DF6-8DCF7081A85F}"/>
              </a:ext>
            </a:extLst>
          </p:cNvPr>
          <p:cNvSpPr>
            <a:spLocks noGrp="1"/>
          </p:cNvSpPr>
          <p:nvPr>
            <p:ph type="title"/>
          </p:nvPr>
        </p:nvSpPr>
        <p:spPr>
          <a:xfrm>
            <a:off x="1589897" y="197032"/>
            <a:ext cx="6781800" cy="1338696"/>
          </a:xfrm>
        </p:spPr>
        <p:txBody>
          <a:bodyPr vert="horz" lIns="91440" tIns="45720" rIns="91440" bIns="45720" rtlCol="0" anchor="ctr">
            <a:normAutofit fontScale="90000"/>
          </a:bodyPr>
          <a:lstStyle/>
          <a:p>
            <a:r>
              <a:rPr lang="en-US" sz="6600" b="1"/>
              <a:t>VALG TIL BESTYRELSE</a:t>
            </a:r>
          </a:p>
        </p:txBody>
      </p:sp>
      <p:pic>
        <p:nvPicPr>
          <p:cNvPr id="5" name="Pladsholder til indhold 4">
            <a:extLst>
              <a:ext uri="{FF2B5EF4-FFF2-40B4-BE49-F238E27FC236}">
                <a16:creationId xmlns:a16="http://schemas.microsoft.com/office/drawing/2014/main" id="{F8344AC9-14A3-21D5-30B6-CC2339A51F8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Pladsholder til indhold 3">
            <a:extLst>
              <a:ext uri="{FF2B5EF4-FFF2-40B4-BE49-F238E27FC236}">
                <a16:creationId xmlns:a16="http://schemas.microsoft.com/office/drawing/2014/main" id="{29414F28-8D37-CB6D-7197-22D933BA1ED2}"/>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194097" y="1535728"/>
            <a:ext cx="10362903" cy="3900730"/>
          </a:xfrm>
        </p:spPr>
        <p:txBody>
          <a:bodyPr>
            <a:normAutofit/>
          </a:bodyPr>
          <a:lstStyle/>
          <a:p>
            <a:pPr lvl="1"/>
            <a:r>
              <a:rPr lang="da-DK" sz="4000" dirty="0"/>
              <a:t> </a:t>
            </a:r>
            <a:r>
              <a:rPr lang="da-DK" sz="3600" dirty="0"/>
              <a:t>Kari Martinsen – modtager </a:t>
            </a:r>
            <a:r>
              <a:rPr lang="da-DK" sz="3600" b="1" dirty="0"/>
              <a:t>ikke</a:t>
            </a:r>
            <a:r>
              <a:rPr lang="da-DK" sz="3600" dirty="0"/>
              <a:t> genvalg</a:t>
            </a:r>
          </a:p>
          <a:p>
            <a:pPr lvl="1"/>
            <a:endParaRPr lang="da-DK" sz="3600" dirty="0"/>
          </a:p>
          <a:p>
            <a:pPr lvl="1"/>
            <a:r>
              <a:rPr lang="da-DK" sz="3600" dirty="0"/>
              <a:t> Niels Peter Purup Madsen – modtager genvalg</a:t>
            </a:r>
          </a:p>
          <a:p>
            <a:pPr lvl="1"/>
            <a:endParaRPr lang="da-DK" sz="3600" dirty="0"/>
          </a:p>
          <a:p>
            <a:pPr lvl="1"/>
            <a:r>
              <a:rPr lang="da-DK" sz="3600" dirty="0"/>
              <a:t> Ole Korsholm – modtager genvalg</a:t>
            </a:r>
          </a:p>
          <a:p>
            <a:pPr marL="1371600" lvl="2" indent="-457200">
              <a:buAutoNum type="arabicPeriod"/>
            </a:pPr>
            <a:endParaRPr lang="da-DK" sz="4000" dirty="0"/>
          </a:p>
          <a:p>
            <a:pPr marL="1371600" lvl="2" indent="-457200">
              <a:buAutoNum type="arabicPeriod"/>
            </a:pPr>
            <a:endParaRPr lang="da-DK" sz="2800" dirty="0"/>
          </a:p>
          <a:p>
            <a:pPr marL="457200" lvl="1" indent="0">
              <a:buNone/>
            </a:pPr>
            <a:endParaRPr lang="da-DK" sz="4000" dirty="0"/>
          </a:p>
        </p:txBody>
      </p:sp>
      <p:pic>
        <p:nvPicPr>
          <p:cNvPr id="3" name="Billede 2" descr="Et billede, der indeholder tekst, Grafik, logo, grafisk design">
            <a:extLst>
              <a:ext uri="{FF2B5EF4-FFF2-40B4-BE49-F238E27FC236}">
                <a16:creationId xmlns:a16="http://schemas.microsoft.com/office/drawing/2014/main" id="{9E065EF7-FF90-3C8E-8F14-DBD1D74471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359577697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21056-BD6A-0A81-BDD1-B2C996DBBD7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4F4B6B-3C09-F1CD-7FE6-839804BE2DC1}"/>
              </a:ext>
            </a:extLst>
          </p:cNvPr>
          <p:cNvSpPr>
            <a:spLocks noGrp="1"/>
          </p:cNvSpPr>
          <p:nvPr>
            <p:ph type="title"/>
          </p:nvPr>
        </p:nvSpPr>
        <p:spPr>
          <a:xfrm>
            <a:off x="1589896" y="197032"/>
            <a:ext cx="7973981" cy="1338696"/>
          </a:xfrm>
        </p:spPr>
        <p:txBody>
          <a:bodyPr vert="horz" lIns="91440" tIns="45720" rIns="91440" bIns="45720" rtlCol="0" anchor="ctr">
            <a:normAutofit/>
          </a:bodyPr>
          <a:lstStyle/>
          <a:p>
            <a:r>
              <a:rPr lang="en-US" sz="6600" b="1"/>
              <a:t>VALG AF SUPPLEANT</a:t>
            </a:r>
          </a:p>
        </p:txBody>
      </p:sp>
      <p:pic>
        <p:nvPicPr>
          <p:cNvPr id="5" name="Pladsholder til indhold 4">
            <a:extLst>
              <a:ext uri="{FF2B5EF4-FFF2-40B4-BE49-F238E27FC236}">
                <a16:creationId xmlns:a16="http://schemas.microsoft.com/office/drawing/2014/main" id="{F3AFDC51-F9C1-4736-20C7-E0FD14D3719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F635EAD4-729A-BCEF-4B2C-6BC424799D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6" name="Pladsholder til indhold 3">
            <a:extLst>
              <a:ext uri="{FF2B5EF4-FFF2-40B4-BE49-F238E27FC236}">
                <a16:creationId xmlns:a16="http://schemas.microsoft.com/office/drawing/2014/main" id="{6C23DFD7-83CE-92AD-0155-A92D113623F3}"/>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193800" y="1535113"/>
            <a:ext cx="6781800" cy="3902075"/>
          </a:xfrm>
        </p:spPr>
        <p:txBody>
          <a:bodyPr>
            <a:normAutofit/>
          </a:bodyPr>
          <a:lstStyle/>
          <a:p>
            <a:pPr marL="457200" lvl="1" indent="0">
              <a:buNone/>
            </a:pPr>
            <a:endParaRPr lang="da-DK" sz="4000"/>
          </a:p>
        </p:txBody>
      </p:sp>
    </p:spTree>
    <p:extLst>
      <p:ext uri="{BB962C8B-B14F-4D97-AF65-F5344CB8AC3E}">
        <p14:creationId xmlns:p14="http://schemas.microsoft.com/office/powerpoint/2010/main" val="15364738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D3F43-5BD7-35FA-A301-3CED6DF5F9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1F6A829-180A-12D1-755B-EA6CCB971315}"/>
              </a:ext>
            </a:extLst>
          </p:cNvPr>
          <p:cNvSpPr>
            <a:spLocks noGrp="1"/>
          </p:cNvSpPr>
          <p:nvPr>
            <p:ph type="title"/>
          </p:nvPr>
        </p:nvSpPr>
        <p:spPr>
          <a:xfrm>
            <a:off x="6286500" y="4001294"/>
            <a:ext cx="5905500" cy="1338696"/>
          </a:xfrm>
        </p:spPr>
        <p:txBody>
          <a:bodyPr vert="horz" lIns="91440" tIns="45720" rIns="91440" bIns="45720" rtlCol="0" anchor="ctr">
            <a:normAutofit fontScale="90000"/>
          </a:bodyPr>
          <a:lstStyle/>
          <a:p>
            <a:r>
              <a:rPr lang="en-US" sz="6600" b="1"/>
              <a:t>VALG AF </a:t>
            </a:r>
            <a:br>
              <a:rPr lang="en-US" sz="6600" b="1"/>
            </a:br>
            <a:r>
              <a:rPr lang="en-US" sz="6600" b="1"/>
              <a:t>EKSTERN REVISOR</a:t>
            </a:r>
          </a:p>
        </p:txBody>
      </p:sp>
      <p:pic>
        <p:nvPicPr>
          <p:cNvPr id="3" name="Billede 2" descr="Et billede, der indeholder tekst, Grafik, logo, grafisk design">
            <a:extLst>
              <a:ext uri="{FF2B5EF4-FFF2-40B4-BE49-F238E27FC236}">
                <a16:creationId xmlns:a16="http://schemas.microsoft.com/office/drawing/2014/main" id="{090F4754-4335-9D60-A9CF-CFED8C2E8C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8" name="Pladsholder til indhold 7">
            <a:extLst>
              <a:ext uri="{FF2B5EF4-FFF2-40B4-BE49-F238E27FC236}">
                <a16:creationId xmlns:a16="http://schemas.microsoft.com/office/drawing/2014/main" id="{8F60C255-0B6B-603E-B0B0-E413FE72E545}"/>
              </a:ext>
            </a:extLst>
          </p:cNvPr>
          <p:cNvSpPr>
            <a:spLocks noGrp="1"/>
          </p:cNvSpPr>
          <p:nvPr>
            <p:ph sz="half" idx="1"/>
          </p:nvPr>
        </p:nvSpPr>
        <p:spPr/>
        <p:txBody>
          <a:bodyPr/>
          <a:lstStyle/>
          <a:p>
            <a:endParaRPr lang="da-DK"/>
          </a:p>
        </p:txBody>
      </p:sp>
      <p:pic>
        <p:nvPicPr>
          <p:cNvPr id="9" name="Pladsholder til indhold 4">
            <a:extLst>
              <a:ext uri="{FF2B5EF4-FFF2-40B4-BE49-F238E27FC236}">
                <a16:creationId xmlns:a16="http://schemas.microsoft.com/office/drawing/2014/main" id="{137DF531-3CCB-9D2B-A825-1AD0CCEE9884}"/>
              </a:ext>
            </a:extLst>
          </p:cNvPr>
          <p:cNvPicPr>
            <a:picLocks noChangeAspect="1"/>
          </p:cNvPicPr>
          <p:nvPr/>
        </p:nvPicPr>
        <p:blipFill>
          <a:blip r:embed="rId4">
            <a:extLst>
              <a:ext uri="{28A0092B-C50C-407E-A947-70E740481C1C}">
                <a14:useLocalDpi xmlns:a14="http://schemas.microsoft.com/office/drawing/2010/main" val="0"/>
              </a:ext>
            </a:extLst>
          </a:blip>
          <a:srcRect l="46141" r="13226"/>
          <a:stretch>
            <a:fillRect/>
          </a:stretch>
        </p:blipFill>
        <p:spPr>
          <a:xfrm>
            <a:off x="0" y="0"/>
            <a:ext cx="6286500"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Tree>
    <p:extLst>
      <p:ext uri="{BB962C8B-B14F-4D97-AF65-F5344CB8AC3E}">
        <p14:creationId xmlns:p14="http://schemas.microsoft.com/office/powerpoint/2010/main" val="940407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E57F24F-656C-4826-134A-CCD0DFAFB19D}"/>
            </a:ext>
          </a:extLst>
        </p:cNvPr>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EADCAF8-8823-4E89-8612-21029831A4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94098"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8CA07B2-0819-4B62-9425-7A52BBDD70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94403"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4" name="Group 13">
            <a:extLst>
              <a:ext uri="{FF2B5EF4-FFF2-40B4-BE49-F238E27FC236}">
                <a16:creationId xmlns:a16="http://schemas.microsoft.com/office/drawing/2014/main" id="{DA02BEE4-A5D4-40AF-882D-49D34B086FF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497500" y="3985"/>
            <a:ext cx="9772765" cy="6858000"/>
            <a:chOff x="1303402" y="36937"/>
            <a:chExt cx="9772765" cy="6858000"/>
          </a:xfrm>
        </p:grpSpPr>
        <p:sp>
          <p:nvSpPr>
            <p:cNvPr id="15" name="Freeform: Shape 14">
              <a:extLst>
                <a:ext uri="{FF2B5EF4-FFF2-40B4-BE49-F238E27FC236}">
                  <a16:creationId xmlns:a16="http://schemas.microsoft.com/office/drawing/2014/main" id="{0F5843EB-154F-4459-8954-BB1DF64BBD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60551" y="36937"/>
              <a:ext cx="9313016" cy="6858000"/>
            </a:xfrm>
            <a:custGeom>
              <a:avLst/>
              <a:gdLst>
                <a:gd name="connsiteX0" fmla="*/ 6993556 w 9313016"/>
                <a:gd name="connsiteY0" fmla="*/ 0 h 6858000"/>
                <a:gd name="connsiteX1" fmla="*/ 7358516 w 9313016"/>
                <a:gd name="connsiteY1" fmla="*/ 0 h 6858000"/>
                <a:gd name="connsiteX2" fmla="*/ 7475006 w 9313016"/>
                <a:gd name="connsiteY2" fmla="*/ 82722 h 6858000"/>
                <a:gd name="connsiteX3" fmla="*/ 7816357 w 9313016"/>
                <a:gd name="connsiteY3" fmla="*/ 358482 h 6858000"/>
                <a:gd name="connsiteX4" fmla="*/ 8421752 w 9313016"/>
                <a:gd name="connsiteY4" fmla="*/ 995405 h 6858000"/>
                <a:gd name="connsiteX5" fmla="*/ 8897059 w 9313016"/>
                <a:gd name="connsiteY5" fmla="*/ 1737211 h 6858000"/>
                <a:gd name="connsiteX6" fmla="*/ 9206633 w 9313016"/>
                <a:gd name="connsiteY6" fmla="*/ 2564460 h 6858000"/>
                <a:gd name="connsiteX7" fmla="*/ 9286787 w 9313016"/>
                <a:gd name="connsiteY7" fmla="*/ 3000164 h 6858000"/>
                <a:gd name="connsiteX8" fmla="*/ 9312914 w 9313016"/>
                <a:gd name="connsiteY8" fmla="*/ 3442493 h 6858000"/>
                <a:gd name="connsiteX9" fmla="*/ 9190562 w 9313016"/>
                <a:gd name="connsiteY9" fmla="*/ 4316686 h 6858000"/>
                <a:gd name="connsiteX10" fmla="*/ 9043416 w 9313016"/>
                <a:gd name="connsiteY10" fmla="*/ 4734917 h 6858000"/>
                <a:gd name="connsiteX11" fmla="*/ 8809657 w 9313016"/>
                <a:gd name="connsiteY11" fmla="*/ 5128718 h 6858000"/>
                <a:gd name="connsiteX12" fmla="*/ 8645997 w 9313016"/>
                <a:gd name="connsiteY12" fmla="*/ 5297441 h 6858000"/>
                <a:gd name="connsiteX13" fmla="*/ 8457787 w 9313016"/>
                <a:gd name="connsiteY13" fmla="*/ 5433763 h 6858000"/>
                <a:gd name="connsiteX14" fmla="*/ 8260803 w 9313016"/>
                <a:gd name="connsiteY14" fmla="*/ 5541237 h 6858000"/>
                <a:gd name="connsiteX15" fmla="*/ 8066136 w 9313016"/>
                <a:gd name="connsiteY15" fmla="*/ 5635704 h 6858000"/>
                <a:gd name="connsiteX16" fmla="*/ 7698638 w 9313016"/>
                <a:gd name="connsiteY16" fmla="*/ 5837163 h 6858000"/>
                <a:gd name="connsiteX17" fmla="*/ 7370135 w 9313016"/>
                <a:gd name="connsiteY17" fmla="*/ 6090081 h 6858000"/>
                <a:gd name="connsiteX18" fmla="*/ 7218897 w 9313016"/>
                <a:gd name="connsiteY18" fmla="*/ 6235860 h 6858000"/>
                <a:gd name="connsiteX19" fmla="*/ 7070665 w 9313016"/>
                <a:gd name="connsiteY19" fmla="*/ 6387205 h 6858000"/>
                <a:gd name="connsiteX20" fmla="*/ 6779035 w 9313016"/>
                <a:gd name="connsiteY20" fmla="*/ 6697100 h 6858000"/>
                <a:gd name="connsiteX21" fmla="*/ 6631837 w 9313016"/>
                <a:gd name="connsiteY21" fmla="*/ 6852239 h 6858000"/>
                <a:gd name="connsiteX22" fmla="*/ 6626221 w 9313016"/>
                <a:gd name="connsiteY22" fmla="*/ 6858000 h 6858000"/>
                <a:gd name="connsiteX23" fmla="*/ 6424725 w 9313016"/>
                <a:gd name="connsiteY23" fmla="*/ 6858000 h 6858000"/>
                <a:gd name="connsiteX24" fmla="*/ 6527382 w 9313016"/>
                <a:gd name="connsiteY24" fmla="*/ 6756333 h 6858000"/>
                <a:gd name="connsiteX25" fmla="*/ 6674233 w 9313016"/>
                <a:gd name="connsiteY25" fmla="*/ 6603450 h 6858000"/>
                <a:gd name="connsiteX26" fmla="*/ 6965813 w 9313016"/>
                <a:gd name="connsiteY26" fmla="*/ 6292932 h 6858000"/>
                <a:gd name="connsiteX27" fmla="*/ 7112961 w 9313016"/>
                <a:gd name="connsiteY27" fmla="*/ 6137505 h 6858000"/>
                <a:gd name="connsiteX28" fmla="*/ 7264790 w 9313016"/>
                <a:gd name="connsiteY28" fmla="*/ 5983710 h 6858000"/>
                <a:gd name="connsiteX29" fmla="*/ 7974595 w 9313016"/>
                <a:gd name="connsiteY29" fmla="*/ 5470773 h 6858000"/>
                <a:gd name="connsiteX30" fmla="*/ 8331591 w 9313016"/>
                <a:gd name="connsiteY30" fmla="*/ 5254048 h 6858000"/>
                <a:gd name="connsiteX31" fmla="*/ 8599807 w 9313016"/>
                <a:gd name="connsiteY31" fmla="*/ 4980010 h 6858000"/>
                <a:gd name="connsiteX32" fmla="*/ 8766474 w 9313016"/>
                <a:gd name="connsiteY32" fmla="*/ 4631524 h 6858000"/>
                <a:gd name="connsiteX33" fmla="*/ 8865755 w 9313016"/>
                <a:gd name="connsiteY33" fmla="*/ 4244445 h 6858000"/>
                <a:gd name="connsiteX34" fmla="*/ 8882911 w 9313016"/>
                <a:gd name="connsiteY34" fmla="*/ 4145659 h 6858000"/>
                <a:gd name="connsiteX35" fmla="*/ 8897403 w 9313016"/>
                <a:gd name="connsiteY35" fmla="*/ 4046633 h 6858000"/>
                <a:gd name="connsiteX36" fmla="*/ 8908298 w 9313016"/>
                <a:gd name="connsiteY36" fmla="*/ 3947271 h 6858000"/>
                <a:gd name="connsiteX37" fmla="*/ 8916184 w 9313016"/>
                <a:gd name="connsiteY37" fmla="*/ 3847765 h 6858000"/>
                <a:gd name="connsiteX38" fmla="*/ 8920670 w 9313016"/>
                <a:gd name="connsiteY38" fmla="*/ 3449597 h 6858000"/>
                <a:gd name="connsiteX39" fmla="*/ 8914607 w 9313016"/>
                <a:gd name="connsiteY39" fmla="*/ 3350283 h 6858000"/>
                <a:gd name="connsiteX40" fmla="*/ 8905340 w 9313016"/>
                <a:gd name="connsiteY40" fmla="*/ 3251209 h 6858000"/>
                <a:gd name="connsiteX41" fmla="*/ 8893854 w 9313016"/>
                <a:gd name="connsiteY41" fmla="*/ 3152376 h 6858000"/>
                <a:gd name="connsiteX42" fmla="*/ 8879706 w 9313016"/>
                <a:gd name="connsiteY42" fmla="*/ 3053878 h 6858000"/>
                <a:gd name="connsiteX43" fmla="*/ 8797531 w 9313016"/>
                <a:gd name="connsiteY43" fmla="*/ 2663966 h 6858000"/>
                <a:gd name="connsiteX44" fmla="*/ 8520442 w 9313016"/>
                <a:gd name="connsiteY44" fmla="*/ 1911983 h 6858000"/>
                <a:gd name="connsiteX45" fmla="*/ 8332626 w 9313016"/>
                <a:gd name="connsiteY45" fmla="*/ 1553608 h 6858000"/>
                <a:gd name="connsiteX46" fmla="*/ 8116317 w 9313016"/>
                <a:gd name="connsiteY46" fmla="*/ 1208529 h 6858000"/>
                <a:gd name="connsiteX47" fmla="*/ 7873293 w 9313016"/>
                <a:gd name="connsiteY47" fmla="*/ 878284 h 6858000"/>
                <a:gd name="connsiteX48" fmla="*/ 7604337 w 9313016"/>
                <a:gd name="connsiteY48" fmla="*/ 565125 h 6858000"/>
                <a:gd name="connsiteX49" fmla="*/ 7311128 w 9313016"/>
                <a:gd name="connsiteY49" fmla="*/ 270591 h 6858000"/>
                <a:gd name="connsiteX50" fmla="*/ 1752019 w 9313016"/>
                <a:gd name="connsiteY50" fmla="*/ 0 h 6858000"/>
                <a:gd name="connsiteX51" fmla="*/ 2155804 w 9313016"/>
                <a:gd name="connsiteY51" fmla="*/ 0 h 6858000"/>
                <a:gd name="connsiteX52" fmla="*/ 2103975 w 9313016"/>
                <a:gd name="connsiteY52" fmla="*/ 40789 h 6858000"/>
                <a:gd name="connsiteX53" fmla="*/ 1656310 w 9313016"/>
                <a:gd name="connsiteY53" fmla="*/ 470035 h 6858000"/>
                <a:gd name="connsiteX54" fmla="*/ 806013 w 9313016"/>
                <a:gd name="connsiteY54" fmla="*/ 1841133 h 6858000"/>
                <a:gd name="connsiteX55" fmla="*/ 580685 w 9313016"/>
                <a:gd name="connsiteY55" fmla="*/ 2606364 h 6858000"/>
                <a:gd name="connsiteX56" fmla="*/ 503489 w 9313016"/>
                <a:gd name="connsiteY56" fmla="*/ 3397276 h 6858000"/>
                <a:gd name="connsiteX57" fmla="*/ 570135 w 9313016"/>
                <a:gd name="connsiteY57" fmla="*/ 4188235 h 6858000"/>
                <a:gd name="connsiteX58" fmla="*/ 783387 w 9313016"/>
                <a:gd name="connsiteY58" fmla="*/ 4953850 h 6858000"/>
                <a:gd name="connsiteX59" fmla="*/ 1628014 w 9313016"/>
                <a:gd name="connsiteY59" fmla="*/ 6308245 h 6858000"/>
                <a:gd name="connsiteX60" fmla="*/ 2235998 w 9313016"/>
                <a:gd name="connsiteY60" fmla="*/ 6844829 h 6858000"/>
                <a:gd name="connsiteX61" fmla="*/ 2255028 w 9313016"/>
                <a:gd name="connsiteY61" fmla="*/ 6858000 h 6858000"/>
                <a:gd name="connsiteX62" fmla="*/ 1578787 w 9313016"/>
                <a:gd name="connsiteY62" fmla="*/ 6858000 h 6858000"/>
                <a:gd name="connsiteX63" fmla="*/ 1465153 w 9313016"/>
                <a:gd name="connsiteY63" fmla="*/ 6759050 h 6858000"/>
                <a:gd name="connsiteX64" fmla="*/ 1303650 w 9313016"/>
                <a:gd name="connsiteY64" fmla="*/ 6604267 h 6858000"/>
                <a:gd name="connsiteX65" fmla="*/ 323708 w 9313016"/>
                <a:gd name="connsiteY65" fmla="*/ 5126365 h 6858000"/>
                <a:gd name="connsiteX66" fmla="*/ 872 w 9313016"/>
                <a:gd name="connsiteY66" fmla="*/ 3391228 h 6858000"/>
                <a:gd name="connsiteX67" fmla="*/ 105428 w 9313016"/>
                <a:gd name="connsiteY67" fmla="*/ 2511899 h 6858000"/>
                <a:gd name="connsiteX68" fmla="*/ 384933 w 9313016"/>
                <a:gd name="connsiteY68" fmla="*/ 1670971 h 6858000"/>
                <a:gd name="connsiteX69" fmla="*/ 1433593 w 9313016"/>
                <a:gd name="connsiteY69" fmla="*/ 256095 h 6858000"/>
                <a:gd name="connsiteX70" fmla="*/ 1602664 w 9313016"/>
                <a:gd name="connsiteY70" fmla="*/ 1137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9313016" h="6858000">
                  <a:moveTo>
                    <a:pt x="6993556" y="0"/>
                  </a:moveTo>
                  <a:lnTo>
                    <a:pt x="7358516" y="0"/>
                  </a:lnTo>
                  <a:lnTo>
                    <a:pt x="7475006" y="82722"/>
                  </a:lnTo>
                  <a:cubicBezTo>
                    <a:pt x="7592423" y="169778"/>
                    <a:pt x="7706366" y="261748"/>
                    <a:pt x="7816357" y="358482"/>
                  </a:cubicBezTo>
                  <a:cubicBezTo>
                    <a:pt x="8036559" y="551589"/>
                    <a:pt x="8239655" y="764905"/>
                    <a:pt x="8421752" y="995405"/>
                  </a:cubicBezTo>
                  <a:cubicBezTo>
                    <a:pt x="8604736" y="1225282"/>
                    <a:pt x="8763567" y="1474646"/>
                    <a:pt x="8897059" y="1737211"/>
                  </a:cubicBezTo>
                  <a:cubicBezTo>
                    <a:pt x="9029909" y="2000162"/>
                    <a:pt x="9134317" y="2277990"/>
                    <a:pt x="9206633" y="2564460"/>
                  </a:cubicBezTo>
                  <a:cubicBezTo>
                    <a:pt x="9242322" y="2707791"/>
                    <a:pt x="9269041" y="2853474"/>
                    <a:pt x="9286787" y="3000164"/>
                  </a:cubicBezTo>
                  <a:cubicBezTo>
                    <a:pt x="9304977" y="3146856"/>
                    <a:pt x="9314097" y="3294698"/>
                    <a:pt x="9312914" y="3442493"/>
                  </a:cubicBezTo>
                  <a:cubicBezTo>
                    <a:pt x="9309906" y="3737987"/>
                    <a:pt x="9270717" y="4033288"/>
                    <a:pt x="9190562" y="4316686"/>
                  </a:cubicBezTo>
                  <a:cubicBezTo>
                    <a:pt x="9150486" y="4458240"/>
                    <a:pt x="9103951" y="4597587"/>
                    <a:pt x="9043416" y="4734917"/>
                  </a:cubicBezTo>
                  <a:cubicBezTo>
                    <a:pt x="8982980" y="4871817"/>
                    <a:pt x="8908740" y="5007131"/>
                    <a:pt x="8809657" y="5128718"/>
                  </a:cubicBezTo>
                  <a:cubicBezTo>
                    <a:pt x="8760312" y="5189247"/>
                    <a:pt x="8706137" y="5246945"/>
                    <a:pt x="8645997" y="5297441"/>
                  </a:cubicBezTo>
                  <a:cubicBezTo>
                    <a:pt x="8586252" y="5348274"/>
                    <a:pt x="8522809" y="5393730"/>
                    <a:pt x="8457787" y="5433763"/>
                  </a:cubicBezTo>
                  <a:cubicBezTo>
                    <a:pt x="8392816" y="5474132"/>
                    <a:pt x="8326219" y="5508213"/>
                    <a:pt x="8260803" y="5541237"/>
                  </a:cubicBezTo>
                  <a:cubicBezTo>
                    <a:pt x="8195289" y="5574071"/>
                    <a:pt x="8130023" y="5604838"/>
                    <a:pt x="8066136" y="5635704"/>
                  </a:cubicBezTo>
                  <a:cubicBezTo>
                    <a:pt x="7938313" y="5697433"/>
                    <a:pt x="7815222" y="5762186"/>
                    <a:pt x="7698638" y="5837163"/>
                  </a:cubicBezTo>
                  <a:cubicBezTo>
                    <a:pt x="7582449" y="5912381"/>
                    <a:pt x="7471881" y="5996094"/>
                    <a:pt x="7370135" y="6090081"/>
                  </a:cubicBezTo>
                  <a:cubicBezTo>
                    <a:pt x="7319460" y="6136593"/>
                    <a:pt x="7268881" y="6186082"/>
                    <a:pt x="7218897" y="6235860"/>
                  </a:cubicBezTo>
                  <a:cubicBezTo>
                    <a:pt x="7168763" y="6285493"/>
                    <a:pt x="7119665" y="6336229"/>
                    <a:pt x="7070665" y="6387205"/>
                  </a:cubicBezTo>
                  <a:cubicBezTo>
                    <a:pt x="6972715" y="6489208"/>
                    <a:pt x="6876195" y="6593131"/>
                    <a:pt x="6779035" y="6697100"/>
                  </a:cubicBezTo>
                  <a:cubicBezTo>
                    <a:pt x="6730379" y="6748989"/>
                    <a:pt x="6681528" y="6800878"/>
                    <a:pt x="6631837" y="6852239"/>
                  </a:cubicBezTo>
                  <a:lnTo>
                    <a:pt x="6626221" y="6858000"/>
                  </a:lnTo>
                  <a:lnTo>
                    <a:pt x="6424725" y="6858000"/>
                  </a:lnTo>
                  <a:lnTo>
                    <a:pt x="6527382" y="6756333"/>
                  </a:lnTo>
                  <a:cubicBezTo>
                    <a:pt x="6576726" y="6705932"/>
                    <a:pt x="6625480" y="6654811"/>
                    <a:pt x="6674233" y="6603450"/>
                  </a:cubicBezTo>
                  <a:cubicBezTo>
                    <a:pt x="6771788" y="6500920"/>
                    <a:pt x="6868309" y="6396757"/>
                    <a:pt x="6965813" y="6292932"/>
                  </a:cubicBezTo>
                  <a:lnTo>
                    <a:pt x="7112961" y="6137505"/>
                  </a:lnTo>
                  <a:cubicBezTo>
                    <a:pt x="7162354" y="6085808"/>
                    <a:pt x="7211945" y="6034640"/>
                    <a:pt x="7264790" y="5983710"/>
                  </a:cubicBezTo>
                  <a:cubicBezTo>
                    <a:pt x="7472373" y="5779130"/>
                    <a:pt x="7721610" y="5610648"/>
                    <a:pt x="7974595" y="5470773"/>
                  </a:cubicBezTo>
                  <a:cubicBezTo>
                    <a:pt x="8099903" y="5399395"/>
                    <a:pt x="8224127" y="5332529"/>
                    <a:pt x="8331591" y="5254048"/>
                  </a:cubicBezTo>
                  <a:cubicBezTo>
                    <a:pt x="8439351" y="5176047"/>
                    <a:pt x="8529660" y="5085949"/>
                    <a:pt x="8599807" y="4980010"/>
                  </a:cubicBezTo>
                  <a:cubicBezTo>
                    <a:pt x="8671187" y="4875128"/>
                    <a:pt x="8723982" y="4756086"/>
                    <a:pt x="8766474" y="4631524"/>
                  </a:cubicBezTo>
                  <a:cubicBezTo>
                    <a:pt x="8808968" y="4507010"/>
                    <a:pt x="8840615" y="4375872"/>
                    <a:pt x="8865755" y="4244445"/>
                  </a:cubicBezTo>
                  <a:cubicBezTo>
                    <a:pt x="8871375" y="4211468"/>
                    <a:pt x="8878129" y="4178731"/>
                    <a:pt x="8882911" y="4145659"/>
                  </a:cubicBezTo>
                  <a:lnTo>
                    <a:pt x="8897403" y="4046633"/>
                  </a:lnTo>
                  <a:lnTo>
                    <a:pt x="8908298" y="3947271"/>
                  </a:lnTo>
                  <a:cubicBezTo>
                    <a:pt x="8912389" y="3914247"/>
                    <a:pt x="8913425" y="3880886"/>
                    <a:pt x="8916184" y="3847765"/>
                  </a:cubicBezTo>
                  <a:cubicBezTo>
                    <a:pt x="8925797" y="3715091"/>
                    <a:pt x="8925945" y="3582127"/>
                    <a:pt x="8920670" y="3449597"/>
                  </a:cubicBezTo>
                  <a:lnTo>
                    <a:pt x="8914607" y="3350283"/>
                  </a:lnTo>
                  <a:cubicBezTo>
                    <a:pt x="8911995" y="3317211"/>
                    <a:pt x="8908348" y="3284233"/>
                    <a:pt x="8905340" y="3251209"/>
                  </a:cubicBezTo>
                  <a:cubicBezTo>
                    <a:pt x="8902628" y="3218185"/>
                    <a:pt x="8897551" y="3185305"/>
                    <a:pt x="8893854" y="3152376"/>
                  </a:cubicBezTo>
                  <a:cubicBezTo>
                    <a:pt x="8890305" y="3119399"/>
                    <a:pt x="8884932" y="3086662"/>
                    <a:pt x="8879706" y="3053878"/>
                  </a:cubicBezTo>
                  <a:cubicBezTo>
                    <a:pt x="8858707" y="2922835"/>
                    <a:pt x="8831249" y="2792705"/>
                    <a:pt x="8797531" y="2663966"/>
                  </a:cubicBezTo>
                  <a:cubicBezTo>
                    <a:pt x="8728616" y="2406777"/>
                    <a:pt x="8635497" y="2155109"/>
                    <a:pt x="8520442" y="1911983"/>
                  </a:cubicBezTo>
                  <a:cubicBezTo>
                    <a:pt x="8462667" y="1790541"/>
                    <a:pt x="8400112" y="1670923"/>
                    <a:pt x="8332626" y="1553608"/>
                  </a:cubicBezTo>
                  <a:cubicBezTo>
                    <a:pt x="8265683" y="1436006"/>
                    <a:pt x="8192973" y="1321188"/>
                    <a:pt x="8116317" y="1208529"/>
                  </a:cubicBezTo>
                  <a:cubicBezTo>
                    <a:pt x="8039811" y="1095776"/>
                    <a:pt x="7958079" y="986094"/>
                    <a:pt x="7873293" y="878284"/>
                  </a:cubicBezTo>
                  <a:cubicBezTo>
                    <a:pt x="7787814" y="771002"/>
                    <a:pt x="7697999" y="666551"/>
                    <a:pt x="7604337" y="565125"/>
                  </a:cubicBezTo>
                  <a:cubicBezTo>
                    <a:pt x="7510479" y="463891"/>
                    <a:pt x="7413367" y="364818"/>
                    <a:pt x="7311128" y="270591"/>
                  </a:cubicBezTo>
                  <a:close/>
                  <a:moveTo>
                    <a:pt x="1752019" y="0"/>
                  </a:moveTo>
                  <a:lnTo>
                    <a:pt x="2155804" y="0"/>
                  </a:lnTo>
                  <a:lnTo>
                    <a:pt x="2103975" y="40789"/>
                  </a:lnTo>
                  <a:cubicBezTo>
                    <a:pt x="1943592" y="173585"/>
                    <a:pt x="1793955" y="317500"/>
                    <a:pt x="1656310" y="470035"/>
                  </a:cubicBezTo>
                  <a:cubicBezTo>
                    <a:pt x="1288172" y="876939"/>
                    <a:pt x="1002998" y="1344708"/>
                    <a:pt x="806013" y="1841133"/>
                  </a:cubicBezTo>
                  <a:cubicBezTo>
                    <a:pt x="707818" y="2089538"/>
                    <a:pt x="630868" y="2345480"/>
                    <a:pt x="580685" y="2606364"/>
                  </a:cubicBezTo>
                  <a:cubicBezTo>
                    <a:pt x="530749" y="2867250"/>
                    <a:pt x="504868" y="3132119"/>
                    <a:pt x="503489" y="3397276"/>
                  </a:cubicBezTo>
                  <a:cubicBezTo>
                    <a:pt x="501467" y="3662434"/>
                    <a:pt x="524093" y="3927351"/>
                    <a:pt x="570135" y="4188235"/>
                  </a:cubicBezTo>
                  <a:cubicBezTo>
                    <a:pt x="615734" y="4449264"/>
                    <a:pt x="688642" y="4705493"/>
                    <a:pt x="783387" y="4953850"/>
                  </a:cubicBezTo>
                  <a:cubicBezTo>
                    <a:pt x="974357" y="5449796"/>
                    <a:pt x="1259630" y="5913773"/>
                    <a:pt x="1628014" y="6308245"/>
                  </a:cubicBezTo>
                  <a:cubicBezTo>
                    <a:pt x="1812182" y="6505481"/>
                    <a:pt x="2016215" y="6685052"/>
                    <a:pt x="2235998" y="6844829"/>
                  </a:cubicBezTo>
                  <a:lnTo>
                    <a:pt x="2255028" y="6858000"/>
                  </a:lnTo>
                  <a:lnTo>
                    <a:pt x="1578787" y="6858000"/>
                  </a:lnTo>
                  <a:lnTo>
                    <a:pt x="1465153" y="6759050"/>
                  </a:lnTo>
                  <a:cubicBezTo>
                    <a:pt x="1410086" y="6708726"/>
                    <a:pt x="1356236" y="6657104"/>
                    <a:pt x="1303650" y="6604267"/>
                  </a:cubicBezTo>
                  <a:cubicBezTo>
                    <a:pt x="883506" y="6181043"/>
                    <a:pt x="548150" y="5676072"/>
                    <a:pt x="323708" y="5126365"/>
                  </a:cubicBezTo>
                  <a:cubicBezTo>
                    <a:pt x="97737" y="4577139"/>
                    <a:pt x="-10958" y="3981927"/>
                    <a:pt x="872" y="3391228"/>
                  </a:cubicBezTo>
                  <a:cubicBezTo>
                    <a:pt x="5951" y="3095783"/>
                    <a:pt x="40506" y="2800528"/>
                    <a:pt x="105428" y="2511899"/>
                  </a:cubicBezTo>
                  <a:cubicBezTo>
                    <a:pt x="170104" y="2223317"/>
                    <a:pt x="262089" y="1940399"/>
                    <a:pt x="384933" y="1670971"/>
                  </a:cubicBezTo>
                  <a:cubicBezTo>
                    <a:pt x="629092" y="1131344"/>
                    <a:pt x="991955" y="646919"/>
                    <a:pt x="1433593" y="256095"/>
                  </a:cubicBezTo>
                  <a:cubicBezTo>
                    <a:pt x="1488791" y="207206"/>
                    <a:pt x="1545179" y="159733"/>
                    <a:pt x="1602664" y="113704"/>
                  </a:cubicBezTo>
                  <a:close/>
                </a:path>
              </a:pathLst>
            </a:custGeom>
            <a:gradFill>
              <a:gsLst>
                <a:gs pos="2000">
                  <a:schemeClr val="bg1">
                    <a:alpha val="10000"/>
                  </a:schemeClr>
                </a:gs>
                <a:gs pos="16000">
                  <a:schemeClr val="accent6">
                    <a:alpha val="8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75905135-55D9-431B-8D5A-4C5C92B1FE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59468" y="36937"/>
              <a:ext cx="9065550" cy="6858000"/>
            </a:xfrm>
            <a:custGeom>
              <a:avLst/>
              <a:gdLst>
                <a:gd name="connsiteX0" fmla="*/ 1839951 w 9065550"/>
                <a:gd name="connsiteY0" fmla="*/ 0 h 6858000"/>
                <a:gd name="connsiteX1" fmla="*/ 6979427 w 9065550"/>
                <a:gd name="connsiteY1" fmla="*/ 0 h 6858000"/>
                <a:gd name="connsiteX2" fmla="*/ 6989586 w 9065550"/>
                <a:gd name="connsiteY2" fmla="*/ 6825 h 6858000"/>
                <a:gd name="connsiteX3" fmla="*/ 8932062 w 9065550"/>
                <a:gd name="connsiteY3" fmla="*/ 4580835 h 6858000"/>
                <a:gd name="connsiteX4" fmla="*/ 7166294 w 9065550"/>
                <a:gd name="connsiteY4" fmla="*/ 6259703 h 6858000"/>
                <a:gd name="connsiteX5" fmla="*/ 6868878 w 9065550"/>
                <a:gd name="connsiteY5" fmla="*/ 6564765 h 6858000"/>
                <a:gd name="connsiteX6" fmla="*/ 6591881 w 9065550"/>
                <a:gd name="connsiteY6" fmla="*/ 6858000 h 6858000"/>
                <a:gd name="connsiteX7" fmla="*/ 5184648 w 9065550"/>
                <a:gd name="connsiteY7" fmla="*/ 6858000 h 6858000"/>
                <a:gd name="connsiteX8" fmla="*/ 5244877 w 9065550"/>
                <a:gd name="connsiteY8" fmla="*/ 6817615 h 6858000"/>
                <a:gd name="connsiteX9" fmla="*/ 6033853 w 9065550"/>
                <a:gd name="connsiteY9" fmla="*/ 6069135 h 6858000"/>
                <a:gd name="connsiteX10" fmla="*/ 6480248 w 9065550"/>
                <a:gd name="connsiteY10" fmla="*/ 5607082 h 6858000"/>
                <a:gd name="connsiteX11" fmla="*/ 7551502 w 9065550"/>
                <a:gd name="connsiteY11" fmla="*/ 4859004 h 6858000"/>
                <a:gd name="connsiteX12" fmla="*/ 7844227 w 9065550"/>
                <a:gd name="connsiteY12" fmla="*/ 4683074 h 6858000"/>
                <a:gd name="connsiteX13" fmla="*/ 8005810 w 9065550"/>
                <a:gd name="connsiteY13" fmla="*/ 4330239 h 6858000"/>
                <a:gd name="connsiteX14" fmla="*/ 8016191 w 9065550"/>
                <a:gd name="connsiteY14" fmla="*/ 2956574 h 6858000"/>
                <a:gd name="connsiteX15" fmla="*/ 7346424 w 9065550"/>
                <a:gd name="connsiteY15" fmla="*/ 1636739 h 6858000"/>
                <a:gd name="connsiteX16" fmla="*/ 5995751 w 9065550"/>
                <a:gd name="connsiteY16" fmla="*/ 493319 h 6858000"/>
                <a:gd name="connsiteX17" fmla="*/ 4494836 w 9065550"/>
                <a:gd name="connsiteY17" fmla="*/ 75383 h 6858000"/>
                <a:gd name="connsiteX18" fmla="*/ 2002499 w 9065550"/>
                <a:gd name="connsiteY18" fmla="*/ 1094261 h 6858000"/>
                <a:gd name="connsiteX19" fmla="*/ 1241306 w 9065550"/>
                <a:gd name="connsiteY19" fmla="*/ 2206935 h 6858000"/>
                <a:gd name="connsiteX20" fmla="*/ 961736 w 9065550"/>
                <a:gd name="connsiteY20" fmla="*/ 3573719 h 6858000"/>
                <a:gd name="connsiteX21" fmla="*/ 1193878 w 9065550"/>
                <a:gd name="connsiteY21" fmla="*/ 4824208 h 6858000"/>
                <a:gd name="connsiteX22" fmla="*/ 1832096 w 9065550"/>
                <a:gd name="connsiteY22" fmla="*/ 5873050 h 6858000"/>
                <a:gd name="connsiteX23" fmla="*/ 3010752 w 9065550"/>
                <a:gd name="connsiteY23" fmla="*/ 6749475 h 6858000"/>
                <a:gd name="connsiteX24" fmla="*/ 3187037 w 9065550"/>
                <a:gd name="connsiteY24" fmla="*/ 6824756 h 6858000"/>
                <a:gd name="connsiteX25" fmla="*/ 3278211 w 9065550"/>
                <a:gd name="connsiteY25" fmla="*/ 6858000 h 6858000"/>
                <a:gd name="connsiteX26" fmla="*/ 1480830 w 9065550"/>
                <a:gd name="connsiteY26" fmla="*/ 6858000 h 6858000"/>
                <a:gd name="connsiteX27" fmla="*/ 1427607 w 9065550"/>
                <a:gd name="connsiteY27" fmla="*/ 6811515 h 6858000"/>
                <a:gd name="connsiteX28" fmla="*/ 1100739 w 9065550"/>
                <a:gd name="connsiteY28" fmla="*/ 6477651 h 6858000"/>
                <a:gd name="connsiteX29" fmla="*/ 0 w 9065550"/>
                <a:gd name="connsiteY29" fmla="*/ 3573620 h 6858000"/>
                <a:gd name="connsiteX30" fmla="*/ 1805513 w 9065550"/>
                <a:gd name="connsiteY30"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65550" h="6858000">
                  <a:moveTo>
                    <a:pt x="1839951" y="0"/>
                  </a:moveTo>
                  <a:lnTo>
                    <a:pt x="6979427" y="0"/>
                  </a:lnTo>
                  <a:lnTo>
                    <a:pt x="6989586" y="6825"/>
                  </a:lnTo>
                  <a:cubicBezTo>
                    <a:pt x="8438828" y="1031353"/>
                    <a:pt x="9439169" y="2823601"/>
                    <a:pt x="8932062" y="4580835"/>
                  </a:cubicBezTo>
                  <a:cubicBezTo>
                    <a:pt x="8592517" y="5757293"/>
                    <a:pt x="7979652" y="5458140"/>
                    <a:pt x="7166294" y="6259703"/>
                  </a:cubicBezTo>
                  <a:cubicBezTo>
                    <a:pt x="7064618" y="6359905"/>
                    <a:pt x="6966014" y="6462297"/>
                    <a:pt x="6868878" y="6564765"/>
                  </a:cubicBezTo>
                  <a:lnTo>
                    <a:pt x="6591881" y="6858000"/>
                  </a:lnTo>
                  <a:lnTo>
                    <a:pt x="5184648" y="6858000"/>
                  </a:lnTo>
                  <a:lnTo>
                    <a:pt x="5244877" y="6817615"/>
                  </a:lnTo>
                  <a:cubicBezTo>
                    <a:pt x="5481027" y="6649287"/>
                    <a:pt x="5723665" y="6398593"/>
                    <a:pt x="6033853" y="6069135"/>
                  </a:cubicBezTo>
                  <a:cubicBezTo>
                    <a:pt x="6175680" y="5918484"/>
                    <a:pt x="6322395" y="5762660"/>
                    <a:pt x="6480248" y="5607082"/>
                  </a:cubicBezTo>
                  <a:cubicBezTo>
                    <a:pt x="6893276" y="5200077"/>
                    <a:pt x="7273697" y="5002920"/>
                    <a:pt x="7551502" y="4859004"/>
                  </a:cubicBezTo>
                  <a:cubicBezTo>
                    <a:pt x="7687884" y="4788339"/>
                    <a:pt x="7795540" y="4732559"/>
                    <a:pt x="7844227" y="4683074"/>
                  </a:cubicBezTo>
                  <a:cubicBezTo>
                    <a:pt x="7898759" y="4627636"/>
                    <a:pt x="7956165" y="4502313"/>
                    <a:pt x="8005810" y="4330239"/>
                  </a:cubicBezTo>
                  <a:cubicBezTo>
                    <a:pt x="8132968" y="3889611"/>
                    <a:pt x="8136446" y="3427460"/>
                    <a:pt x="8016191" y="2956574"/>
                  </a:cubicBezTo>
                  <a:cubicBezTo>
                    <a:pt x="7900876" y="2505064"/>
                    <a:pt x="7669287" y="2048671"/>
                    <a:pt x="7346424" y="1636739"/>
                  </a:cubicBezTo>
                  <a:cubicBezTo>
                    <a:pt x="6979764" y="1168830"/>
                    <a:pt x="6512706" y="773489"/>
                    <a:pt x="5995751" y="493319"/>
                  </a:cubicBezTo>
                  <a:cubicBezTo>
                    <a:pt x="5491195" y="219884"/>
                    <a:pt x="4972174" y="75383"/>
                    <a:pt x="4494836" y="75383"/>
                  </a:cubicBezTo>
                  <a:cubicBezTo>
                    <a:pt x="3554318" y="75383"/>
                    <a:pt x="2669191" y="437197"/>
                    <a:pt x="2002499" y="1094261"/>
                  </a:cubicBezTo>
                  <a:cubicBezTo>
                    <a:pt x="1676360" y="1415667"/>
                    <a:pt x="1420225" y="1790023"/>
                    <a:pt x="1241306" y="2206935"/>
                  </a:cubicBezTo>
                  <a:cubicBezTo>
                    <a:pt x="1055782" y="2639169"/>
                    <a:pt x="961736" y="3099027"/>
                    <a:pt x="961736" y="3573719"/>
                  </a:cubicBezTo>
                  <a:cubicBezTo>
                    <a:pt x="961736" y="4005124"/>
                    <a:pt x="1039805" y="4425841"/>
                    <a:pt x="1193878" y="4824208"/>
                  </a:cubicBezTo>
                  <a:cubicBezTo>
                    <a:pt x="1342457" y="5208423"/>
                    <a:pt x="1557214" y="5561306"/>
                    <a:pt x="1832096" y="5873050"/>
                  </a:cubicBezTo>
                  <a:cubicBezTo>
                    <a:pt x="2157126" y="6241599"/>
                    <a:pt x="2564661" y="6544656"/>
                    <a:pt x="3010752" y="6749475"/>
                  </a:cubicBezTo>
                  <a:cubicBezTo>
                    <a:pt x="3069003" y="6776219"/>
                    <a:pt x="3127773" y="6801314"/>
                    <a:pt x="3187037" y="6824756"/>
                  </a:cubicBezTo>
                  <a:lnTo>
                    <a:pt x="3278211" y="6858000"/>
                  </a:lnTo>
                  <a:lnTo>
                    <a:pt x="1480830" y="6858000"/>
                  </a:lnTo>
                  <a:lnTo>
                    <a:pt x="1427607" y="6811515"/>
                  </a:lnTo>
                  <a:cubicBezTo>
                    <a:pt x="1312870" y="6705919"/>
                    <a:pt x="1203751" y="6594470"/>
                    <a:pt x="1100739" y="6477651"/>
                  </a:cubicBezTo>
                  <a:cubicBezTo>
                    <a:pt x="415045" y="5700097"/>
                    <a:pt x="0" y="4684635"/>
                    <a:pt x="0" y="3573620"/>
                  </a:cubicBezTo>
                  <a:cubicBezTo>
                    <a:pt x="0" y="2121118"/>
                    <a:pt x="709459" y="831902"/>
                    <a:pt x="1805513" y="24133"/>
                  </a:cubicBezTo>
                  <a:close/>
                </a:path>
              </a:pathLst>
            </a:cu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9B732812-A0BB-4324-B390-DFEF26C109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48217" y="36937"/>
              <a:ext cx="9088051" cy="6858000"/>
            </a:xfrm>
            <a:custGeom>
              <a:avLst/>
              <a:gdLst>
                <a:gd name="connsiteX0" fmla="*/ 5158786 w 9088051"/>
                <a:gd name="connsiteY0" fmla="*/ 0 h 6858000"/>
                <a:gd name="connsiteX1" fmla="*/ 6996771 w 9088051"/>
                <a:gd name="connsiteY1" fmla="*/ 0 h 6858000"/>
                <a:gd name="connsiteX2" fmla="*/ 7006955 w 9088051"/>
                <a:gd name="connsiteY2" fmla="*/ 6825 h 6858000"/>
                <a:gd name="connsiteX3" fmla="*/ 8954230 w 9088051"/>
                <a:gd name="connsiteY3" fmla="*/ 4580835 h 6858000"/>
                <a:gd name="connsiteX4" fmla="*/ 7184080 w 9088051"/>
                <a:gd name="connsiteY4" fmla="*/ 6259703 h 6858000"/>
                <a:gd name="connsiteX5" fmla="*/ 6885926 w 9088051"/>
                <a:gd name="connsiteY5" fmla="*/ 6564765 h 6858000"/>
                <a:gd name="connsiteX6" fmla="*/ 6608241 w 9088051"/>
                <a:gd name="connsiteY6" fmla="*/ 6858000 h 6858000"/>
                <a:gd name="connsiteX7" fmla="*/ 5462870 w 9088051"/>
                <a:gd name="connsiteY7" fmla="*/ 6858000 h 6858000"/>
                <a:gd name="connsiteX8" fmla="*/ 5529056 w 9088051"/>
                <a:gd name="connsiteY8" fmla="*/ 6804645 h 6858000"/>
                <a:gd name="connsiteX9" fmla="*/ 6167613 w 9088051"/>
                <a:gd name="connsiteY9" fmla="*/ 6173667 h 6858000"/>
                <a:gd name="connsiteX10" fmla="*/ 6610973 w 9088051"/>
                <a:gd name="connsiteY10" fmla="*/ 5715860 h 6858000"/>
                <a:gd name="connsiteX11" fmla="*/ 7646083 w 9088051"/>
                <a:gd name="connsiteY11" fmla="*/ 4995842 h 6858000"/>
                <a:gd name="connsiteX12" fmla="*/ 7980054 w 9088051"/>
                <a:gd name="connsiteY12" fmla="*/ 4790095 h 6858000"/>
                <a:gd name="connsiteX13" fmla="*/ 8180437 w 9088051"/>
                <a:gd name="connsiteY13" fmla="*/ 4371964 h 6858000"/>
                <a:gd name="connsiteX14" fmla="*/ 8192058 w 9088051"/>
                <a:gd name="connsiteY14" fmla="*/ 2919242 h 6858000"/>
                <a:gd name="connsiteX15" fmla="*/ 7492638 w 9088051"/>
                <a:gd name="connsiteY15" fmla="*/ 1542845 h 6858000"/>
                <a:gd name="connsiteX16" fmla="*/ 6089097 w 9088051"/>
                <a:gd name="connsiteY16" fmla="*/ 357847 h 6858000"/>
                <a:gd name="connsiteX17" fmla="*/ 5288639 w 9088051"/>
                <a:gd name="connsiteY17" fmla="*/ 31627 h 6858000"/>
                <a:gd name="connsiteX18" fmla="*/ 1844517 w 9088051"/>
                <a:gd name="connsiteY18" fmla="*/ 0 h 6858000"/>
                <a:gd name="connsiteX19" fmla="*/ 3734467 w 9088051"/>
                <a:gd name="connsiteY19" fmla="*/ 0 h 6858000"/>
                <a:gd name="connsiteX20" fmla="*/ 3603618 w 9088051"/>
                <a:gd name="connsiteY20" fmla="*/ 28853 h 6858000"/>
                <a:gd name="connsiteX21" fmla="*/ 1892878 w 9088051"/>
                <a:gd name="connsiteY21" fmla="*/ 985434 h 6858000"/>
                <a:gd name="connsiteX22" fmla="*/ 1096045 w 9088051"/>
                <a:gd name="connsiteY22" fmla="*/ 2147349 h 6858000"/>
                <a:gd name="connsiteX23" fmla="*/ 803453 w 9088051"/>
                <a:gd name="connsiteY23" fmla="*/ 3573669 h 6858000"/>
                <a:gd name="connsiteX24" fmla="*/ 1046377 w 9088051"/>
                <a:gd name="connsiteY24" fmla="*/ 4878573 h 6858000"/>
                <a:gd name="connsiteX25" fmla="*/ 1714473 w 9088051"/>
                <a:gd name="connsiteY25" fmla="*/ 5973776 h 6858000"/>
                <a:gd name="connsiteX26" fmla="*/ 2776083 w 9088051"/>
                <a:gd name="connsiteY26" fmla="*/ 6804641 h 6858000"/>
                <a:gd name="connsiteX27" fmla="*/ 2884836 w 9088051"/>
                <a:gd name="connsiteY27" fmla="*/ 6858000 h 6858000"/>
                <a:gd name="connsiteX28" fmla="*/ 1484505 w 9088051"/>
                <a:gd name="connsiteY28" fmla="*/ 6858000 h 6858000"/>
                <a:gd name="connsiteX29" fmla="*/ 1431151 w 9088051"/>
                <a:gd name="connsiteY29" fmla="*/ 6811515 h 6858000"/>
                <a:gd name="connsiteX30" fmla="*/ 1103471 w 9088051"/>
                <a:gd name="connsiteY30" fmla="*/ 6477651 h 6858000"/>
                <a:gd name="connsiteX31" fmla="*/ 0 w 9088051"/>
                <a:gd name="connsiteY31" fmla="*/ 3573620 h 6858000"/>
                <a:gd name="connsiteX32" fmla="*/ 1809994 w 9088051"/>
                <a:gd name="connsiteY32"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088051" h="6858000">
                  <a:moveTo>
                    <a:pt x="5158786" y="0"/>
                  </a:moveTo>
                  <a:lnTo>
                    <a:pt x="6996771" y="0"/>
                  </a:lnTo>
                  <a:lnTo>
                    <a:pt x="7006955" y="6825"/>
                  </a:lnTo>
                  <a:cubicBezTo>
                    <a:pt x="8459794" y="1031353"/>
                    <a:pt x="9462596" y="2823601"/>
                    <a:pt x="8954230" y="4580835"/>
                  </a:cubicBezTo>
                  <a:cubicBezTo>
                    <a:pt x="8613842" y="5757293"/>
                    <a:pt x="7999457" y="5458140"/>
                    <a:pt x="7184080" y="6259703"/>
                  </a:cubicBezTo>
                  <a:cubicBezTo>
                    <a:pt x="7082152" y="6359905"/>
                    <a:pt x="6983303" y="6462297"/>
                    <a:pt x="6885926" y="6564765"/>
                  </a:cubicBezTo>
                  <a:lnTo>
                    <a:pt x="6608241" y="6858000"/>
                  </a:lnTo>
                  <a:lnTo>
                    <a:pt x="5462870" y="6858000"/>
                  </a:lnTo>
                  <a:lnTo>
                    <a:pt x="5529056" y="6804645"/>
                  </a:lnTo>
                  <a:cubicBezTo>
                    <a:pt x="5740217" y="6626505"/>
                    <a:pt x="5949382" y="6404876"/>
                    <a:pt x="6167613" y="6173667"/>
                  </a:cubicBezTo>
                  <a:cubicBezTo>
                    <a:pt x="6308782" y="6024091"/>
                    <a:pt x="6454799" y="5869390"/>
                    <a:pt x="6610973" y="5715860"/>
                  </a:cubicBezTo>
                  <a:cubicBezTo>
                    <a:pt x="7007847" y="5325741"/>
                    <a:pt x="7376733" y="5135074"/>
                    <a:pt x="7646083" y="4995842"/>
                  </a:cubicBezTo>
                  <a:cubicBezTo>
                    <a:pt x="7816858" y="4907561"/>
                    <a:pt x="7916545" y="4854514"/>
                    <a:pt x="7980054" y="4790095"/>
                  </a:cubicBezTo>
                  <a:cubicBezTo>
                    <a:pt x="8054629" y="4714405"/>
                    <a:pt x="8122031" y="4573758"/>
                    <a:pt x="8180437" y="4371964"/>
                  </a:cubicBezTo>
                  <a:cubicBezTo>
                    <a:pt x="8315441" y="3905228"/>
                    <a:pt x="8319381" y="3416431"/>
                    <a:pt x="8192058" y="2919242"/>
                  </a:cubicBezTo>
                  <a:cubicBezTo>
                    <a:pt x="8071251" y="2447381"/>
                    <a:pt x="7829388" y="1971467"/>
                    <a:pt x="7492638" y="1542845"/>
                  </a:cubicBezTo>
                  <a:cubicBezTo>
                    <a:pt x="7111829" y="1058099"/>
                    <a:pt x="6626484" y="648361"/>
                    <a:pt x="6089097" y="357847"/>
                  </a:cubicBezTo>
                  <a:cubicBezTo>
                    <a:pt x="5824244" y="214687"/>
                    <a:pt x="5554957" y="105262"/>
                    <a:pt x="5288639" y="31627"/>
                  </a:cubicBezTo>
                  <a:close/>
                  <a:moveTo>
                    <a:pt x="1844517" y="0"/>
                  </a:moveTo>
                  <a:lnTo>
                    <a:pt x="3734467" y="0"/>
                  </a:lnTo>
                  <a:lnTo>
                    <a:pt x="3603618" y="28853"/>
                  </a:lnTo>
                  <a:cubicBezTo>
                    <a:pt x="2962049" y="186733"/>
                    <a:pt x="2373277" y="513136"/>
                    <a:pt x="1892878" y="985434"/>
                  </a:cubicBezTo>
                  <a:cubicBezTo>
                    <a:pt x="1551428" y="1321091"/>
                    <a:pt x="1283341" y="1711990"/>
                    <a:pt x="1096045" y="2147349"/>
                  </a:cubicBezTo>
                  <a:cubicBezTo>
                    <a:pt x="901876" y="2598519"/>
                    <a:pt x="803453" y="3078432"/>
                    <a:pt x="803453" y="3573669"/>
                  </a:cubicBezTo>
                  <a:cubicBezTo>
                    <a:pt x="803453" y="4023717"/>
                    <a:pt x="885151" y="4462735"/>
                    <a:pt x="1046377" y="4878573"/>
                  </a:cubicBezTo>
                  <a:cubicBezTo>
                    <a:pt x="1201945" y="5279770"/>
                    <a:pt x="1426681" y="5648221"/>
                    <a:pt x="1714473" y="5973776"/>
                  </a:cubicBezTo>
                  <a:cubicBezTo>
                    <a:pt x="2012357" y="6310732"/>
                    <a:pt x="2376505" y="6595304"/>
                    <a:pt x="2776083" y="6804641"/>
                  </a:cubicBezTo>
                  <a:lnTo>
                    <a:pt x="2884836" y="6858000"/>
                  </a:lnTo>
                  <a:lnTo>
                    <a:pt x="1484505" y="6858000"/>
                  </a:lnTo>
                  <a:lnTo>
                    <a:pt x="1431151" y="6811515"/>
                  </a:lnTo>
                  <a:cubicBezTo>
                    <a:pt x="1316128" y="6705919"/>
                    <a:pt x="1206738" y="6594470"/>
                    <a:pt x="1103471" y="6477651"/>
                  </a:cubicBezTo>
                  <a:cubicBezTo>
                    <a:pt x="416075" y="5700097"/>
                    <a:pt x="0" y="4684635"/>
                    <a:pt x="0" y="3573620"/>
                  </a:cubicBezTo>
                  <a:cubicBezTo>
                    <a:pt x="0" y="2121118"/>
                    <a:pt x="711220" y="831902"/>
                    <a:pt x="1809994" y="24133"/>
                  </a:cubicBezTo>
                  <a:close/>
                </a:path>
              </a:pathLst>
            </a:custGeom>
            <a:gradFill>
              <a:gsLst>
                <a:gs pos="2000">
                  <a:schemeClr val="bg1">
                    <a:alpha val="10000"/>
                  </a:schemeClr>
                </a:gs>
                <a:gs pos="16000">
                  <a:schemeClr val="accent6">
                    <a:alpha val="2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01FEC055-6F76-4E20-BC93-76C2F58EAF3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29061" y="36937"/>
              <a:ext cx="9107210" cy="6858000"/>
            </a:xfrm>
            <a:custGeom>
              <a:avLst/>
              <a:gdLst>
                <a:gd name="connsiteX0" fmla="*/ 6184722 w 9107210"/>
                <a:gd name="connsiteY0" fmla="*/ 0 h 6858000"/>
                <a:gd name="connsiteX1" fmla="*/ 6985680 w 9107210"/>
                <a:gd name="connsiteY1" fmla="*/ 0 h 6858000"/>
                <a:gd name="connsiteX2" fmla="*/ 7324323 w 9107210"/>
                <a:gd name="connsiteY2" fmla="*/ 247136 h 6858000"/>
                <a:gd name="connsiteX3" fmla="*/ 7652712 w 9107210"/>
                <a:gd name="connsiteY3" fmla="*/ 528495 h 6858000"/>
                <a:gd name="connsiteX4" fmla="*/ 8236677 w 9107210"/>
                <a:gd name="connsiteY4" fmla="*/ 1166289 h 6858000"/>
                <a:gd name="connsiteX5" fmla="*/ 8704298 w 9107210"/>
                <a:gd name="connsiteY5" fmla="*/ 1897038 h 6858000"/>
                <a:gd name="connsiteX6" fmla="*/ 8885160 w 9107210"/>
                <a:gd name="connsiteY6" fmla="*/ 2294087 h 6858000"/>
                <a:gd name="connsiteX7" fmla="*/ 8924247 w 9107210"/>
                <a:gd name="connsiteY7" fmla="*/ 2396286 h 6858000"/>
                <a:gd name="connsiteX8" fmla="*/ 8960022 w 9107210"/>
                <a:gd name="connsiteY8" fmla="*/ 2499767 h 6858000"/>
                <a:gd name="connsiteX9" fmla="*/ 8991720 w 9107210"/>
                <a:gd name="connsiteY9" fmla="*/ 2604671 h 6858000"/>
                <a:gd name="connsiteX10" fmla="*/ 9019646 w 9107210"/>
                <a:gd name="connsiteY10" fmla="*/ 2710708 h 6858000"/>
                <a:gd name="connsiteX11" fmla="*/ 9105822 w 9107210"/>
                <a:gd name="connsiteY11" fmla="*/ 3582266 h 6858000"/>
                <a:gd name="connsiteX12" fmla="*/ 9057716 w 9107210"/>
                <a:gd name="connsiteY12" fmla="*/ 4017873 h 6858000"/>
                <a:gd name="connsiteX13" fmla="*/ 8945600 w 9107210"/>
                <a:gd name="connsiteY13" fmla="*/ 4439659 h 6858000"/>
                <a:gd name="connsiteX14" fmla="*/ 8796080 w 9107210"/>
                <a:gd name="connsiteY14" fmla="*/ 4847428 h 6858000"/>
                <a:gd name="connsiteX15" fmla="*/ 8702056 w 9107210"/>
                <a:gd name="connsiteY15" fmla="*/ 5050108 h 6858000"/>
                <a:gd name="connsiteX16" fmla="*/ 8581125 w 9107210"/>
                <a:gd name="connsiteY16" fmla="*/ 5247525 h 6858000"/>
                <a:gd name="connsiteX17" fmla="*/ 8426254 w 9107210"/>
                <a:gd name="connsiteY17" fmla="*/ 5429647 h 6858000"/>
                <a:gd name="connsiteX18" fmla="*/ 8337174 w 9107210"/>
                <a:gd name="connsiteY18" fmla="*/ 5510552 h 6858000"/>
                <a:gd name="connsiteX19" fmla="*/ 8243200 w 9107210"/>
                <a:gd name="connsiteY19" fmla="*/ 5582948 h 6858000"/>
                <a:gd name="connsiteX20" fmla="*/ 7868330 w 9107210"/>
                <a:gd name="connsiteY20" fmla="*/ 5811104 h 6858000"/>
                <a:gd name="connsiteX21" fmla="*/ 7538916 w 9107210"/>
                <a:gd name="connsiteY21" fmla="*/ 6018899 h 6858000"/>
                <a:gd name="connsiteX22" fmla="*/ 7391280 w 9107210"/>
                <a:gd name="connsiteY22" fmla="*/ 6134132 h 6858000"/>
                <a:gd name="connsiteX23" fmla="*/ 7252511 w 9107210"/>
                <a:gd name="connsiteY23" fmla="*/ 6259105 h 6858000"/>
                <a:gd name="connsiteX24" fmla="*/ 7185601 w 9107210"/>
                <a:gd name="connsiteY24" fmla="*/ 6325894 h 6858000"/>
                <a:gd name="connsiteX25" fmla="*/ 7116651 w 9107210"/>
                <a:gd name="connsiteY25" fmla="*/ 6397010 h 6858000"/>
                <a:gd name="connsiteX26" fmla="*/ 6978545 w 9107210"/>
                <a:gd name="connsiteY26" fmla="*/ 6541607 h 6858000"/>
                <a:gd name="connsiteX27" fmla="*/ 6693009 w 9107210"/>
                <a:gd name="connsiteY27" fmla="*/ 6832716 h 6858000"/>
                <a:gd name="connsiteX28" fmla="*/ 6667488 w 9107210"/>
                <a:gd name="connsiteY28" fmla="*/ 6858000 h 6858000"/>
                <a:gd name="connsiteX29" fmla="*/ 6056793 w 9107210"/>
                <a:gd name="connsiteY29" fmla="*/ 6858000 h 6858000"/>
                <a:gd name="connsiteX30" fmla="*/ 6077345 w 9107210"/>
                <a:gd name="connsiteY30" fmla="*/ 6835420 h 6858000"/>
                <a:gd name="connsiteX31" fmla="*/ 6208519 w 9107210"/>
                <a:gd name="connsiteY31" fmla="*/ 6683989 h 6858000"/>
                <a:gd name="connsiteX32" fmla="*/ 6340001 w 9107210"/>
                <a:gd name="connsiteY32" fmla="*/ 6529852 h 6858000"/>
                <a:gd name="connsiteX33" fmla="*/ 6611419 w 9107210"/>
                <a:gd name="connsiteY33" fmla="*/ 6219317 h 6858000"/>
                <a:gd name="connsiteX34" fmla="*/ 6757678 w 9107210"/>
                <a:gd name="connsiteY34" fmla="*/ 6068228 h 6858000"/>
                <a:gd name="connsiteX35" fmla="*/ 6833713 w 9107210"/>
                <a:gd name="connsiteY35" fmla="*/ 5994061 h 6858000"/>
                <a:gd name="connsiteX36" fmla="*/ 6915148 w 9107210"/>
                <a:gd name="connsiteY36" fmla="*/ 5918812 h 6858000"/>
                <a:gd name="connsiteX37" fmla="*/ 7276311 w 9107210"/>
                <a:gd name="connsiteY37" fmla="*/ 5650229 h 6858000"/>
                <a:gd name="connsiteX38" fmla="*/ 7664942 w 9107210"/>
                <a:gd name="connsiteY38" fmla="*/ 5445681 h 6858000"/>
                <a:gd name="connsiteX39" fmla="*/ 7848505 w 9107210"/>
                <a:gd name="connsiteY39" fmla="*/ 5358333 h 6858000"/>
                <a:gd name="connsiteX40" fmla="*/ 8011785 w 9107210"/>
                <a:gd name="connsiteY40" fmla="*/ 5267788 h 6858000"/>
                <a:gd name="connsiteX41" fmla="*/ 8260273 w 9107210"/>
                <a:gd name="connsiteY41" fmla="*/ 5034370 h 6858000"/>
                <a:gd name="connsiteX42" fmla="*/ 8417589 w 9107210"/>
                <a:gd name="connsiteY42" fmla="*/ 4714488 h 6858000"/>
                <a:gd name="connsiteX43" fmla="*/ 8495000 w 9107210"/>
                <a:gd name="connsiteY43" fmla="*/ 4346409 h 6858000"/>
                <a:gd name="connsiteX44" fmla="*/ 8508556 w 9107210"/>
                <a:gd name="connsiteY44" fmla="*/ 3971101 h 6858000"/>
                <a:gd name="connsiteX45" fmla="*/ 8483330 w 9107210"/>
                <a:gd name="connsiteY45" fmla="*/ 3600710 h 6858000"/>
                <a:gd name="connsiteX46" fmla="*/ 8425336 w 9107210"/>
                <a:gd name="connsiteY46" fmla="*/ 3236121 h 6858000"/>
                <a:gd name="connsiteX47" fmla="*/ 8334575 w 9107210"/>
                <a:gd name="connsiteY47" fmla="*/ 2877977 h 6858000"/>
                <a:gd name="connsiteX48" fmla="*/ 8087513 w 9107210"/>
                <a:gd name="connsiteY48" fmla="*/ 2174622 h 6858000"/>
                <a:gd name="connsiteX49" fmla="*/ 7723650 w 9107210"/>
                <a:gd name="connsiteY49" fmla="*/ 1507613 h 6858000"/>
                <a:gd name="connsiteX50" fmla="*/ 7501815 w 9107210"/>
                <a:gd name="connsiteY50" fmla="*/ 1192947 h 6858000"/>
                <a:gd name="connsiteX51" fmla="*/ 7254399 w 9107210"/>
                <a:gd name="connsiteY51" fmla="*/ 894361 h 6858000"/>
                <a:gd name="connsiteX52" fmla="*/ 6689339 w 9107210"/>
                <a:gd name="connsiteY52" fmla="*/ 354046 h 6858000"/>
                <a:gd name="connsiteX53" fmla="*/ 6206651 w 9107210"/>
                <a:gd name="connsiteY53" fmla="*/ 12626 h 6858000"/>
                <a:gd name="connsiteX54" fmla="*/ 1827105 w 9107210"/>
                <a:gd name="connsiteY54" fmla="*/ 0 h 6858000"/>
                <a:gd name="connsiteX55" fmla="*/ 2807607 w 9107210"/>
                <a:gd name="connsiteY55" fmla="*/ 0 h 6858000"/>
                <a:gd name="connsiteX56" fmla="*/ 2667958 w 9107210"/>
                <a:gd name="connsiteY56" fmla="*/ 88235 h 6858000"/>
                <a:gd name="connsiteX57" fmla="*/ 2354723 w 9107210"/>
                <a:gd name="connsiteY57" fmla="*/ 314947 h 6858000"/>
                <a:gd name="connsiteX58" fmla="*/ 2059963 w 9107210"/>
                <a:gd name="connsiteY58" fmla="*/ 561545 h 6858000"/>
                <a:gd name="connsiteX59" fmla="*/ 1780798 w 9107210"/>
                <a:gd name="connsiteY59" fmla="*/ 824425 h 6858000"/>
                <a:gd name="connsiteX60" fmla="*/ 954714 w 9107210"/>
                <a:gd name="connsiteY60" fmla="*/ 2094309 h 6858000"/>
                <a:gd name="connsiteX61" fmla="*/ 732676 w 9107210"/>
                <a:gd name="connsiteY61" fmla="*/ 2813646 h 6858000"/>
                <a:gd name="connsiteX62" fmla="*/ 673867 w 9107210"/>
                <a:gd name="connsiteY62" fmla="*/ 3183989 h 6858000"/>
                <a:gd name="connsiteX63" fmla="*/ 647621 w 9107210"/>
                <a:gd name="connsiteY63" fmla="*/ 3557281 h 6858000"/>
                <a:gd name="connsiteX64" fmla="*/ 653381 w 9107210"/>
                <a:gd name="connsiteY64" fmla="*/ 3931214 h 6858000"/>
                <a:gd name="connsiteX65" fmla="*/ 690428 w 9107210"/>
                <a:gd name="connsiteY65" fmla="*/ 4303719 h 6858000"/>
                <a:gd name="connsiteX66" fmla="*/ 871801 w 9107210"/>
                <a:gd name="connsiteY66" fmla="*/ 5033041 h 6858000"/>
                <a:gd name="connsiteX67" fmla="*/ 1197749 w 9107210"/>
                <a:gd name="connsiteY67" fmla="*/ 5718494 h 6858000"/>
                <a:gd name="connsiteX68" fmla="*/ 1411480 w 9107210"/>
                <a:gd name="connsiteY68" fmla="*/ 6036703 h 6858000"/>
                <a:gd name="connsiteX69" fmla="*/ 1530170 w 9107210"/>
                <a:gd name="connsiteY69" fmla="*/ 6188430 h 6858000"/>
                <a:gd name="connsiteX70" fmla="*/ 1657165 w 9107210"/>
                <a:gd name="connsiteY70" fmla="*/ 6335385 h 6858000"/>
                <a:gd name="connsiteX71" fmla="*/ 1931343 w 9107210"/>
                <a:gd name="connsiteY71" fmla="*/ 6612896 h 6858000"/>
                <a:gd name="connsiteX72" fmla="*/ 2220133 w 9107210"/>
                <a:gd name="connsiteY72" fmla="*/ 6858000 h 6858000"/>
                <a:gd name="connsiteX73" fmla="*/ 1539862 w 9107210"/>
                <a:gd name="connsiteY73" fmla="*/ 6858000 h 6858000"/>
                <a:gd name="connsiteX74" fmla="*/ 1307111 w 9107210"/>
                <a:gd name="connsiteY74" fmla="*/ 6648873 h 6858000"/>
                <a:gd name="connsiteX75" fmla="*/ 750258 w 9107210"/>
                <a:gd name="connsiteY75" fmla="*/ 5987570 h 6858000"/>
                <a:gd name="connsiteX76" fmla="*/ 335382 w 9107210"/>
                <a:gd name="connsiteY76" fmla="*/ 5229279 h 6858000"/>
                <a:gd name="connsiteX77" fmla="*/ 79351 w 9107210"/>
                <a:gd name="connsiteY77" fmla="*/ 4403854 h 6858000"/>
                <a:gd name="connsiteX78" fmla="*/ 16007 w 9107210"/>
                <a:gd name="connsiteY78" fmla="*/ 3975723 h 6858000"/>
                <a:gd name="connsiteX79" fmla="*/ 871 w 9107210"/>
                <a:gd name="connsiteY79" fmla="*/ 3543362 h 6858000"/>
                <a:gd name="connsiteX80" fmla="*/ 32519 w 9107210"/>
                <a:gd name="connsiteY80" fmla="*/ 3112085 h 6858000"/>
                <a:gd name="connsiteX81" fmla="*/ 108502 w 9107210"/>
                <a:gd name="connsiteY81" fmla="*/ 2686511 h 6858000"/>
                <a:gd name="connsiteX82" fmla="*/ 378239 w 9107210"/>
                <a:gd name="connsiteY82" fmla="*/ 1865955 h 6858000"/>
                <a:gd name="connsiteX83" fmla="*/ 1343701 w 9107210"/>
                <a:gd name="connsiteY83" fmla="*/ 431508 h 6858000"/>
                <a:gd name="connsiteX84" fmla="*/ 1661853 w 9107210"/>
                <a:gd name="connsiteY84" fmla="*/ 1302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107210" h="6858000">
                  <a:moveTo>
                    <a:pt x="6184722" y="0"/>
                  </a:moveTo>
                  <a:lnTo>
                    <a:pt x="6985680" y="0"/>
                  </a:lnTo>
                  <a:lnTo>
                    <a:pt x="7324323" y="247136"/>
                  </a:lnTo>
                  <a:cubicBezTo>
                    <a:pt x="7437502" y="336500"/>
                    <a:pt x="7547171" y="430254"/>
                    <a:pt x="7652712" y="528495"/>
                  </a:cubicBezTo>
                  <a:cubicBezTo>
                    <a:pt x="7863743" y="724929"/>
                    <a:pt x="8060097" y="937593"/>
                    <a:pt x="8236677" y="1166289"/>
                  </a:cubicBezTo>
                  <a:cubicBezTo>
                    <a:pt x="8413818" y="1394594"/>
                    <a:pt x="8570168" y="1639471"/>
                    <a:pt x="8704298" y="1897038"/>
                  </a:cubicBezTo>
                  <a:cubicBezTo>
                    <a:pt x="8770803" y="2026141"/>
                    <a:pt x="8830836" y="2158786"/>
                    <a:pt x="8885160" y="2294087"/>
                  </a:cubicBezTo>
                  <a:cubicBezTo>
                    <a:pt x="8898360" y="2328071"/>
                    <a:pt x="8912169" y="2361810"/>
                    <a:pt x="8924247" y="2396286"/>
                  </a:cubicBezTo>
                  <a:lnTo>
                    <a:pt x="8960022" y="2499767"/>
                  </a:lnTo>
                  <a:lnTo>
                    <a:pt x="8991720" y="2604671"/>
                  </a:lnTo>
                  <a:cubicBezTo>
                    <a:pt x="9002116" y="2639690"/>
                    <a:pt x="9010474" y="2675346"/>
                    <a:pt x="9019646" y="2710708"/>
                  </a:cubicBezTo>
                  <a:cubicBezTo>
                    <a:pt x="9089055" y="2995079"/>
                    <a:pt x="9113620" y="3289927"/>
                    <a:pt x="9105822" y="3582266"/>
                  </a:cubicBezTo>
                  <a:cubicBezTo>
                    <a:pt x="9101796" y="3728484"/>
                    <a:pt x="9085744" y="3874458"/>
                    <a:pt x="9057716" y="4017873"/>
                  </a:cubicBezTo>
                  <a:cubicBezTo>
                    <a:pt x="9029534" y="4161336"/>
                    <a:pt x="8990497" y="4302046"/>
                    <a:pt x="8945600" y="4439659"/>
                  </a:cubicBezTo>
                  <a:cubicBezTo>
                    <a:pt x="8900857" y="4577566"/>
                    <a:pt x="8852901" y="4711784"/>
                    <a:pt x="8796080" y="4847428"/>
                  </a:cubicBezTo>
                  <a:cubicBezTo>
                    <a:pt x="8767695" y="4915152"/>
                    <a:pt x="8737016" y="4982926"/>
                    <a:pt x="8702056" y="5050108"/>
                  </a:cubicBezTo>
                  <a:cubicBezTo>
                    <a:pt x="8666485" y="5116997"/>
                    <a:pt x="8627347" y="5183687"/>
                    <a:pt x="8581125" y="5247525"/>
                  </a:cubicBezTo>
                  <a:cubicBezTo>
                    <a:pt x="8535565" y="5311660"/>
                    <a:pt x="8483534" y="5373185"/>
                    <a:pt x="8426254" y="5429647"/>
                  </a:cubicBezTo>
                  <a:cubicBezTo>
                    <a:pt x="8397512" y="5457779"/>
                    <a:pt x="8367801" y="5484879"/>
                    <a:pt x="8337174" y="5510552"/>
                  </a:cubicBezTo>
                  <a:cubicBezTo>
                    <a:pt x="8306444" y="5536077"/>
                    <a:pt x="8274899" y="5560029"/>
                    <a:pt x="8243200" y="5582948"/>
                  </a:cubicBezTo>
                  <a:cubicBezTo>
                    <a:pt x="8115543" y="5674574"/>
                    <a:pt x="7986203" y="5743233"/>
                    <a:pt x="7868330" y="5811104"/>
                  </a:cubicBezTo>
                  <a:cubicBezTo>
                    <a:pt x="7749844" y="5878385"/>
                    <a:pt x="7640685" y="5945126"/>
                    <a:pt x="7538916" y="6018899"/>
                  </a:cubicBezTo>
                  <a:cubicBezTo>
                    <a:pt x="7487749" y="6055392"/>
                    <a:pt x="7438777" y="6093950"/>
                    <a:pt x="7391280" y="6134132"/>
                  </a:cubicBezTo>
                  <a:cubicBezTo>
                    <a:pt x="7343427" y="6173921"/>
                    <a:pt x="7297511" y="6215922"/>
                    <a:pt x="7252511" y="6259105"/>
                  </a:cubicBezTo>
                  <a:cubicBezTo>
                    <a:pt x="7229784" y="6280990"/>
                    <a:pt x="7208635" y="6302433"/>
                    <a:pt x="7185601" y="6325894"/>
                  </a:cubicBezTo>
                  <a:lnTo>
                    <a:pt x="7116651" y="6397010"/>
                  </a:lnTo>
                  <a:lnTo>
                    <a:pt x="6978545" y="6541607"/>
                  </a:lnTo>
                  <a:cubicBezTo>
                    <a:pt x="6885693" y="6638397"/>
                    <a:pt x="6789885" y="6734943"/>
                    <a:pt x="6693009" y="6832716"/>
                  </a:cubicBezTo>
                  <a:lnTo>
                    <a:pt x="6667488" y="6858000"/>
                  </a:lnTo>
                  <a:lnTo>
                    <a:pt x="6056793" y="6858000"/>
                  </a:lnTo>
                  <a:lnTo>
                    <a:pt x="6077345" y="6835420"/>
                  </a:lnTo>
                  <a:cubicBezTo>
                    <a:pt x="6121427" y="6785747"/>
                    <a:pt x="6164948" y="6735090"/>
                    <a:pt x="6208519" y="6683989"/>
                  </a:cubicBezTo>
                  <a:lnTo>
                    <a:pt x="6340001" y="6529852"/>
                  </a:lnTo>
                  <a:cubicBezTo>
                    <a:pt x="6428315" y="6426667"/>
                    <a:pt x="6516733" y="6321417"/>
                    <a:pt x="6611419" y="6219317"/>
                  </a:cubicBezTo>
                  <a:cubicBezTo>
                    <a:pt x="6658864" y="6168363"/>
                    <a:pt x="6707584" y="6117950"/>
                    <a:pt x="6757678" y="6068228"/>
                  </a:cubicBezTo>
                  <a:lnTo>
                    <a:pt x="6833713" y="5994061"/>
                  </a:lnTo>
                  <a:cubicBezTo>
                    <a:pt x="6859346" y="5969422"/>
                    <a:pt x="6887579" y="5943404"/>
                    <a:pt x="6915148" y="5918812"/>
                  </a:cubicBezTo>
                  <a:cubicBezTo>
                    <a:pt x="7026295" y="5819219"/>
                    <a:pt x="7148602" y="5729117"/>
                    <a:pt x="7276311" y="5650229"/>
                  </a:cubicBezTo>
                  <a:cubicBezTo>
                    <a:pt x="7403918" y="5571046"/>
                    <a:pt x="7537794" y="5505190"/>
                    <a:pt x="7664942" y="5445681"/>
                  </a:cubicBezTo>
                  <a:cubicBezTo>
                    <a:pt x="7728491" y="5416024"/>
                    <a:pt x="7790410" y="5387449"/>
                    <a:pt x="7848505" y="5358333"/>
                  </a:cubicBezTo>
                  <a:cubicBezTo>
                    <a:pt x="7906805" y="5329315"/>
                    <a:pt x="7961843" y="5300101"/>
                    <a:pt x="8011785" y="5267788"/>
                  </a:cubicBezTo>
                  <a:cubicBezTo>
                    <a:pt x="8112281" y="5203950"/>
                    <a:pt x="8193615" y="5128111"/>
                    <a:pt x="8260273" y="5034370"/>
                  </a:cubicBezTo>
                  <a:cubicBezTo>
                    <a:pt x="8326370" y="4940776"/>
                    <a:pt x="8378657" y="4831640"/>
                    <a:pt x="8417589" y="4714488"/>
                  </a:cubicBezTo>
                  <a:cubicBezTo>
                    <a:pt x="8456372" y="4597485"/>
                    <a:pt x="8481140" y="4471332"/>
                    <a:pt x="8495000" y="4346409"/>
                  </a:cubicBezTo>
                  <a:cubicBezTo>
                    <a:pt x="8508404" y="4221044"/>
                    <a:pt x="8511359" y="4095482"/>
                    <a:pt x="8508556" y="3971101"/>
                  </a:cubicBezTo>
                  <a:cubicBezTo>
                    <a:pt x="8504530" y="3846571"/>
                    <a:pt x="8495663" y="3723222"/>
                    <a:pt x="8483330" y="3600710"/>
                  </a:cubicBezTo>
                  <a:cubicBezTo>
                    <a:pt x="8470793" y="3478148"/>
                    <a:pt x="8451888" y="3356421"/>
                    <a:pt x="8425336" y="3236121"/>
                  </a:cubicBezTo>
                  <a:cubicBezTo>
                    <a:pt x="8399091" y="3115774"/>
                    <a:pt x="8367801" y="2996655"/>
                    <a:pt x="8334575" y="2877977"/>
                  </a:cubicBezTo>
                  <a:cubicBezTo>
                    <a:pt x="8268222" y="2640772"/>
                    <a:pt x="8190100" y="2404057"/>
                    <a:pt x="8087513" y="2174622"/>
                  </a:cubicBezTo>
                  <a:cubicBezTo>
                    <a:pt x="7985081" y="1945237"/>
                    <a:pt x="7863233" y="1721900"/>
                    <a:pt x="7723650" y="1507613"/>
                  </a:cubicBezTo>
                  <a:cubicBezTo>
                    <a:pt x="7653527" y="1400692"/>
                    <a:pt x="7579684" y="1295589"/>
                    <a:pt x="7501815" y="1192947"/>
                  </a:cubicBezTo>
                  <a:cubicBezTo>
                    <a:pt x="7423844" y="1090353"/>
                    <a:pt x="7340778" y="991103"/>
                    <a:pt x="7254399" y="894361"/>
                  </a:cubicBezTo>
                  <a:cubicBezTo>
                    <a:pt x="7082047" y="700485"/>
                    <a:pt x="6893083" y="519052"/>
                    <a:pt x="6689339" y="354046"/>
                  </a:cubicBezTo>
                  <a:cubicBezTo>
                    <a:pt x="6536914" y="229775"/>
                    <a:pt x="6375602" y="115325"/>
                    <a:pt x="6206651" y="12626"/>
                  </a:cubicBezTo>
                  <a:close/>
                  <a:moveTo>
                    <a:pt x="1827105" y="0"/>
                  </a:moveTo>
                  <a:lnTo>
                    <a:pt x="2807607" y="0"/>
                  </a:lnTo>
                  <a:lnTo>
                    <a:pt x="2667958" y="88235"/>
                  </a:lnTo>
                  <a:cubicBezTo>
                    <a:pt x="2560098" y="159777"/>
                    <a:pt x="2455754" y="235690"/>
                    <a:pt x="2354723" y="314947"/>
                  </a:cubicBezTo>
                  <a:cubicBezTo>
                    <a:pt x="2253464" y="394030"/>
                    <a:pt x="2156943" y="478181"/>
                    <a:pt x="2059963" y="561545"/>
                  </a:cubicBezTo>
                  <a:cubicBezTo>
                    <a:pt x="1962831" y="644811"/>
                    <a:pt x="1868297" y="731322"/>
                    <a:pt x="1780798" y="824425"/>
                  </a:cubicBezTo>
                  <a:cubicBezTo>
                    <a:pt x="1429010" y="1195013"/>
                    <a:pt x="1148011" y="1628455"/>
                    <a:pt x="954714" y="2094309"/>
                  </a:cubicBezTo>
                  <a:cubicBezTo>
                    <a:pt x="857938" y="2327186"/>
                    <a:pt x="783229" y="2568326"/>
                    <a:pt x="732676" y="2813646"/>
                  </a:cubicBezTo>
                  <a:cubicBezTo>
                    <a:pt x="707552" y="2936307"/>
                    <a:pt x="688085" y="3059952"/>
                    <a:pt x="673867" y="3183989"/>
                  </a:cubicBezTo>
                  <a:cubicBezTo>
                    <a:pt x="660056" y="3308075"/>
                    <a:pt x="651341" y="3432605"/>
                    <a:pt x="647621" y="3557281"/>
                  </a:cubicBezTo>
                  <a:cubicBezTo>
                    <a:pt x="644411" y="3681958"/>
                    <a:pt x="645329" y="3806733"/>
                    <a:pt x="653381" y="3931214"/>
                  </a:cubicBezTo>
                  <a:cubicBezTo>
                    <a:pt x="659852" y="4055792"/>
                    <a:pt x="672949" y="4179977"/>
                    <a:pt x="690428" y="4303719"/>
                  </a:cubicBezTo>
                  <a:cubicBezTo>
                    <a:pt x="726408" y="4551057"/>
                    <a:pt x="786440" y="4795835"/>
                    <a:pt x="871801" y="5033041"/>
                  </a:cubicBezTo>
                  <a:cubicBezTo>
                    <a:pt x="957007" y="5270247"/>
                    <a:pt x="1065962" y="5500322"/>
                    <a:pt x="1197749" y="5718494"/>
                  </a:cubicBezTo>
                  <a:cubicBezTo>
                    <a:pt x="1263846" y="5827433"/>
                    <a:pt x="1334937" y="5933813"/>
                    <a:pt x="1411480" y="6036703"/>
                  </a:cubicBezTo>
                  <a:cubicBezTo>
                    <a:pt x="1449548" y="6088295"/>
                    <a:pt x="1489451" y="6138609"/>
                    <a:pt x="1530170" y="6188430"/>
                  </a:cubicBezTo>
                  <a:cubicBezTo>
                    <a:pt x="1571447" y="6238055"/>
                    <a:pt x="1613644" y="6287336"/>
                    <a:pt x="1657165" y="6335385"/>
                  </a:cubicBezTo>
                  <a:cubicBezTo>
                    <a:pt x="1744079" y="6431708"/>
                    <a:pt x="1835644" y="6524282"/>
                    <a:pt x="1931343" y="6612896"/>
                  </a:cubicBezTo>
                  <a:lnTo>
                    <a:pt x="2220133" y="6858000"/>
                  </a:lnTo>
                  <a:lnTo>
                    <a:pt x="1539862" y="6858000"/>
                  </a:lnTo>
                  <a:lnTo>
                    <a:pt x="1307111" y="6648873"/>
                  </a:lnTo>
                  <a:cubicBezTo>
                    <a:pt x="1101839" y="6448063"/>
                    <a:pt x="913180" y="6225465"/>
                    <a:pt x="750258" y="5987570"/>
                  </a:cubicBezTo>
                  <a:cubicBezTo>
                    <a:pt x="587232" y="5749281"/>
                    <a:pt x="448261" y="5494813"/>
                    <a:pt x="335382" y="5229279"/>
                  </a:cubicBezTo>
                  <a:cubicBezTo>
                    <a:pt x="222298" y="4963793"/>
                    <a:pt x="137040" y="4686652"/>
                    <a:pt x="79351" y="4403854"/>
                  </a:cubicBezTo>
                  <a:cubicBezTo>
                    <a:pt x="50150" y="4262456"/>
                    <a:pt x="29767" y="4119385"/>
                    <a:pt x="16007" y="3975723"/>
                  </a:cubicBezTo>
                  <a:cubicBezTo>
                    <a:pt x="3930" y="3831964"/>
                    <a:pt x="-2441" y="3687614"/>
                    <a:pt x="871" y="3543362"/>
                  </a:cubicBezTo>
                  <a:cubicBezTo>
                    <a:pt x="3522" y="3399160"/>
                    <a:pt x="14172" y="3255105"/>
                    <a:pt x="32519" y="3112085"/>
                  </a:cubicBezTo>
                  <a:cubicBezTo>
                    <a:pt x="50508" y="2969014"/>
                    <a:pt x="76090" y="2826925"/>
                    <a:pt x="108502" y="2686511"/>
                  </a:cubicBezTo>
                  <a:cubicBezTo>
                    <a:pt x="173019" y="2405533"/>
                    <a:pt x="263474" y="2130703"/>
                    <a:pt x="378239" y="1865955"/>
                  </a:cubicBezTo>
                  <a:cubicBezTo>
                    <a:pt x="607922" y="1336607"/>
                    <a:pt x="935706" y="848228"/>
                    <a:pt x="1343701" y="431508"/>
                  </a:cubicBezTo>
                  <a:cubicBezTo>
                    <a:pt x="1446133" y="327783"/>
                    <a:pt x="1550910" y="225926"/>
                    <a:pt x="1661853" y="130268"/>
                  </a:cubicBezTo>
                  <a:close/>
                </a:path>
              </a:pathLst>
            </a:custGeom>
            <a:gradFill>
              <a:gsLst>
                <a:gs pos="2000">
                  <a:schemeClr val="bg1">
                    <a:alpha val="10000"/>
                  </a:schemeClr>
                </a:gs>
                <a:gs pos="16000">
                  <a:schemeClr val="accent6">
                    <a:alpha val="8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D74CD21D-122E-4F3D-82AF-F4A37C278A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18434" y="36937"/>
              <a:ext cx="9747620" cy="6858000"/>
            </a:xfrm>
            <a:custGeom>
              <a:avLst/>
              <a:gdLst>
                <a:gd name="connsiteX0" fmla="*/ 7235453 w 9747620"/>
                <a:gd name="connsiteY0" fmla="*/ 0 h 6858000"/>
                <a:gd name="connsiteX1" fmla="*/ 7548130 w 9747620"/>
                <a:gd name="connsiteY1" fmla="*/ 0 h 6858000"/>
                <a:gd name="connsiteX2" fmla="*/ 7710334 w 9747620"/>
                <a:gd name="connsiteY2" fmla="*/ 111973 h 6858000"/>
                <a:gd name="connsiteX3" fmla="*/ 7889188 w 9747620"/>
                <a:gd name="connsiteY3" fmla="*/ 251542 h 6858000"/>
                <a:gd name="connsiteX4" fmla="*/ 8061828 w 9747620"/>
                <a:gd name="connsiteY4" fmla="*/ 398586 h 6858000"/>
                <a:gd name="connsiteX5" fmla="*/ 8145637 w 9747620"/>
                <a:gd name="connsiteY5" fmla="*/ 474218 h 6858000"/>
                <a:gd name="connsiteX6" fmla="*/ 8187242 w 9747620"/>
                <a:gd name="connsiteY6" fmla="*/ 512753 h 6858000"/>
                <a:gd name="connsiteX7" fmla="*/ 8228402 w 9747620"/>
                <a:gd name="connsiteY7" fmla="*/ 551575 h 6858000"/>
                <a:gd name="connsiteX8" fmla="*/ 8389211 w 9747620"/>
                <a:gd name="connsiteY8" fmla="*/ 710937 h 6858000"/>
                <a:gd name="connsiteX9" fmla="*/ 8467206 w 9747620"/>
                <a:gd name="connsiteY9" fmla="*/ 793088 h 6858000"/>
                <a:gd name="connsiteX10" fmla="*/ 8486791 w 9747620"/>
                <a:gd name="connsiteY10" fmla="*/ 814223 h 6858000"/>
                <a:gd name="connsiteX11" fmla="*/ 8505979 w 9747620"/>
                <a:gd name="connsiteY11" fmla="*/ 835409 h 6858000"/>
                <a:gd name="connsiteX12" fmla="*/ 8543509 w 9747620"/>
                <a:gd name="connsiteY12" fmla="*/ 877346 h 6858000"/>
                <a:gd name="connsiteX13" fmla="*/ 8690549 w 9747620"/>
                <a:gd name="connsiteY13" fmla="*/ 1048978 h 6858000"/>
                <a:gd name="connsiteX14" fmla="*/ 8761732 w 9747620"/>
                <a:gd name="connsiteY14" fmla="*/ 1137502 h 6858000"/>
                <a:gd name="connsiteX15" fmla="*/ 8796379 w 9747620"/>
                <a:gd name="connsiteY15" fmla="*/ 1182077 h 6858000"/>
                <a:gd name="connsiteX16" fmla="*/ 8830678 w 9747620"/>
                <a:gd name="connsiteY16" fmla="*/ 1226986 h 6858000"/>
                <a:gd name="connsiteX17" fmla="*/ 8963353 w 9747620"/>
                <a:gd name="connsiteY17" fmla="*/ 1410936 h 6858000"/>
                <a:gd name="connsiteX18" fmla="*/ 9026483 w 9747620"/>
                <a:gd name="connsiteY18" fmla="*/ 1505499 h 6858000"/>
                <a:gd name="connsiteX19" fmla="*/ 9057004 w 9747620"/>
                <a:gd name="connsiteY19" fmla="*/ 1552613 h 6858000"/>
                <a:gd name="connsiteX20" fmla="*/ 9087278 w 9747620"/>
                <a:gd name="connsiteY20" fmla="*/ 1600542 h 6858000"/>
                <a:gd name="connsiteX21" fmla="*/ 9202851 w 9747620"/>
                <a:gd name="connsiteY21" fmla="*/ 1795515 h 6858000"/>
                <a:gd name="connsiteX22" fmla="*/ 9257332 w 9747620"/>
                <a:gd name="connsiteY22" fmla="*/ 1894920 h 6858000"/>
                <a:gd name="connsiteX23" fmla="*/ 9283778 w 9747620"/>
                <a:gd name="connsiteY23" fmla="*/ 1945436 h 6858000"/>
                <a:gd name="connsiteX24" fmla="*/ 9309428 w 9747620"/>
                <a:gd name="connsiteY24" fmla="*/ 1996193 h 6858000"/>
                <a:gd name="connsiteX25" fmla="*/ 9405714 w 9747620"/>
                <a:gd name="connsiteY25" fmla="*/ 2202191 h 6858000"/>
                <a:gd name="connsiteX26" fmla="*/ 9566524 w 9747620"/>
                <a:gd name="connsiteY26" fmla="*/ 2627653 h 6858000"/>
                <a:gd name="connsiteX27" fmla="*/ 9583573 w 9747620"/>
                <a:gd name="connsiteY27" fmla="*/ 2682195 h 6858000"/>
                <a:gd name="connsiteX28" fmla="*/ 9591974 w 9747620"/>
                <a:gd name="connsiteY28" fmla="*/ 2709707 h 6858000"/>
                <a:gd name="connsiteX29" fmla="*/ 9600027 w 9747620"/>
                <a:gd name="connsiteY29" fmla="*/ 2737650 h 6858000"/>
                <a:gd name="connsiteX30" fmla="*/ 9629803 w 9747620"/>
                <a:gd name="connsiteY30" fmla="*/ 2847694 h 6858000"/>
                <a:gd name="connsiteX31" fmla="*/ 9679909 w 9747620"/>
                <a:gd name="connsiteY31" fmla="*/ 3070131 h 6858000"/>
                <a:gd name="connsiteX32" fmla="*/ 9690498 w 9747620"/>
                <a:gd name="connsiteY32" fmla="*/ 3126159 h 6858000"/>
                <a:gd name="connsiteX33" fmla="*/ 9700390 w 9747620"/>
                <a:gd name="connsiteY33" fmla="*/ 3181805 h 6858000"/>
                <a:gd name="connsiteX34" fmla="*/ 9709685 w 9747620"/>
                <a:gd name="connsiteY34" fmla="*/ 3243392 h 6858000"/>
                <a:gd name="connsiteX35" fmla="*/ 9713016 w 9747620"/>
                <a:gd name="connsiteY35" fmla="*/ 3267597 h 6858000"/>
                <a:gd name="connsiteX36" fmla="*/ 9716844 w 9747620"/>
                <a:gd name="connsiteY36" fmla="*/ 3294437 h 6858000"/>
                <a:gd name="connsiteX37" fmla="*/ 9720820 w 9747620"/>
                <a:gd name="connsiteY37" fmla="*/ 3324488 h 6858000"/>
                <a:gd name="connsiteX38" fmla="*/ 9722709 w 9747620"/>
                <a:gd name="connsiteY38" fmla="*/ 3340737 h 6858000"/>
                <a:gd name="connsiteX39" fmla="*/ 9724301 w 9747620"/>
                <a:gd name="connsiteY39" fmla="*/ 3356361 h 6858000"/>
                <a:gd name="connsiteX40" fmla="*/ 9730166 w 9747620"/>
                <a:gd name="connsiteY40" fmla="*/ 3412197 h 6858000"/>
                <a:gd name="connsiteX41" fmla="*/ 9735783 w 9747620"/>
                <a:gd name="connsiteY41" fmla="*/ 3468083 h 6858000"/>
                <a:gd name="connsiteX42" fmla="*/ 9739760 w 9747620"/>
                <a:gd name="connsiteY42" fmla="*/ 3524399 h 6858000"/>
                <a:gd name="connsiteX43" fmla="*/ 9741748 w 9747620"/>
                <a:gd name="connsiteY43" fmla="*/ 3552580 h 6858000"/>
                <a:gd name="connsiteX44" fmla="*/ 9742742 w 9747620"/>
                <a:gd name="connsiteY44" fmla="*/ 3566672 h 6858000"/>
                <a:gd name="connsiteX45" fmla="*/ 9743488 w 9747620"/>
                <a:gd name="connsiteY45" fmla="*/ 3581865 h 6858000"/>
                <a:gd name="connsiteX46" fmla="*/ 9744731 w 9747620"/>
                <a:gd name="connsiteY46" fmla="*/ 3611341 h 6858000"/>
                <a:gd name="connsiteX47" fmla="*/ 9745725 w 9747620"/>
                <a:gd name="connsiteY47" fmla="*/ 3639715 h 6858000"/>
                <a:gd name="connsiteX48" fmla="*/ 9747613 w 9747620"/>
                <a:gd name="connsiteY48" fmla="*/ 3753786 h 6858000"/>
                <a:gd name="connsiteX49" fmla="*/ 9740405 w 9747620"/>
                <a:gd name="connsiteY49" fmla="*/ 3984609 h 6858000"/>
                <a:gd name="connsiteX50" fmla="*/ 9736329 w 9747620"/>
                <a:gd name="connsiteY50" fmla="*/ 4038434 h 6858000"/>
                <a:gd name="connsiteX51" fmla="*/ 9731408 w 9747620"/>
                <a:gd name="connsiteY51" fmla="*/ 4099446 h 6858000"/>
                <a:gd name="connsiteX52" fmla="*/ 9717987 w 9747620"/>
                <a:gd name="connsiteY52" fmla="*/ 4213325 h 6858000"/>
                <a:gd name="connsiteX53" fmla="*/ 9716297 w 9747620"/>
                <a:gd name="connsiteY53" fmla="*/ 4227129 h 6858000"/>
                <a:gd name="connsiteX54" fmla="*/ 9714110 w 9747620"/>
                <a:gd name="connsiteY54" fmla="*/ 4240981 h 6858000"/>
                <a:gd name="connsiteX55" fmla="*/ 9709785 w 9747620"/>
                <a:gd name="connsiteY55" fmla="*/ 4268731 h 6858000"/>
                <a:gd name="connsiteX56" fmla="*/ 9701086 w 9747620"/>
                <a:gd name="connsiteY56" fmla="*/ 4324185 h 6858000"/>
                <a:gd name="connsiteX57" fmla="*/ 9698699 w 9747620"/>
                <a:gd name="connsiteY57" fmla="*/ 4338994 h 6858000"/>
                <a:gd name="connsiteX58" fmla="*/ 9695966 w 9747620"/>
                <a:gd name="connsiteY58" fmla="*/ 4355050 h 6858000"/>
                <a:gd name="connsiteX59" fmla="*/ 9690299 w 9747620"/>
                <a:gd name="connsiteY59" fmla="*/ 4385054 h 6858000"/>
                <a:gd name="connsiteX60" fmla="*/ 9679909 w 9747620"/>
                <a:gd name="connsiteY60" fmla="*/ 4437919 h 6858000"/>
                <a:gd name="connsiteX61" fmla="*/ 9673647 w 9747620"/>
                <a:gd name="connsiteY61" fmla="*/ 4468162 h 6858000"/>
                <a:gd name="connsiteX62" fmla="*/ 9667532 w 9747620"/>
                <a:gd name="connsiteY62" fmla="*/ 4496296 h 6858000"/>
                <a:gd name="connsiteX63" fmla="*/ 9654658 w 9747620"/>
                <a:gd name="connsiteY63" fmla="*/ 4552277 h 6858000"/>
                <a:gd name="connsiteX64" fmla="*/ 9625876 w 9747620"/>
                <a:gd name="connsiteY64" fmla="*/ 4664478 h 6858000"/>
                <a:gd name="connsiteX65" fmla="*/ 9552803 w 9747620"/>
                <a:gd name="connsiteY65" fmla="*/ 4888737 h 6858000"/>
                <a:gd name="connsiteX66" fmla="*/ 9452639 w 9747620"/>
                <a:gd name="connsiteY66" fmla="*/ 5110934 h 6858000"/>
                <a:gd name="connsiteX67" fmla="*/ 9388017 w 9747620"/>
                <a:gd name="connsiteY67" fmla="*/ 5220020 h 6858000"/>
                <a:gd name="connsiteX68" fmla="*/ 9370073 w 9747620"/>
                <a:gd name="connsiteY68" fmla="*/ 5246811 h 6858000"/>
                <a:gd name="connsiteX69" fmla="*/ 9360926 w 9747620"/>
                <a:gd name="connsiteY69" fmla="*/ 5260040 h 6858000"/>
                <a:gd name="connsiteX70" fmla="*/ 9351829 w 9747620"/>
                <a:gd name="connsiteY70" fmla="*/ 5272646 h 6858000"/>
                <a:gd name="connsiteX71" fmla="*/ 9313305 w 9747620"/>
                <a:gd name="connsiteY71" fmla="*/ 5323881 h 6858000"/>
                <a:gd name="connsiteX72" fmla="*/ 9130375 w 9747620"/>
                <a:gd name="connsiteY72" fmla="*/ 5510802 h 6858000"/>
                <a:gd name="connsiteX73" fmla="*/ 9028422 w 9747620"/>
                <a:gd name="connsiteY73" fmla="*/ 5588878 h 6858000"/>
                <a:gd name="connsiteX74" fmla="*/ 9002424 w 9747620"/>
                <a:gd name="connsiteY74" fmla="*/ 5606707 h 6858000"/>
                <a:gd name="connsiteX75" fmla="*/ 8976525 w 9747620"/>
                <a:gd name="connsiteY75" fmla="*/ 5623866 h 6858000"/>
                <a:gd name="connsiteX76" fmla="*/ 8924181 w 9747620"/>
                <a:gd name="connsiteY76" fmla="*/ 5656793 h 6858000"/>
                <a:gd name="connsiteX77" fmla="*/ 8717291 w 9747620"/>
                <a:gd name="connsiteY77" fmla="*/ 5771582 h 6858000"/>
                <a:gd name="connsiteX78" fmla="*/ 8617129 w 9747620"/>
                <a:gd name="connsiteY78" fmla="*/ 5823105 h 6858000"/>
                <a:gd name="connsiteX79" fmla="*/ 8518207 w 9747620"/>
                <a:gd name="connsiteY79" fmla="*/ 5873671 h 6858000"/>
                <a:gd name="connsiteX80" fmla="*/ 8150558 w 9747620"/>
                <a:gd name="connsiteY80" fmla="*/ 6086761 h 6858000"/>
                <a:gd name="connsiteX81" fmla="*/ 7979410 w 9747620"/>
                <a:gd name="connsiteY81" fmla="*/ 6207158 h 6858000"/>
                <a:gd name="connsiteX82" fmla="*/ 7938300 w 9747620"/>
                <a:gd name="connsiteY82" fmla="*/ 6238887 h 6858000"/>
                <a:gd name="connsiteX83" fmla="*/ 7897936 w 9747620"/>
                <a:gd name="connsiteY83" fmla="*/ 6271286 h 6858000"/>
                <a:gd name="connsiteX84" fmla="*/ 7858367 w 9747620"/>
                <a:gd name="connsiteY84" fmla="*/ 6304357 h 6858000"/>
                <a:gd name="connsiteX85" fmla="*/ 7819048 w 9747620"/>
                <a:gd name="connsiteY85" fmla="*/ 6338770 h 6858000"/>
                <a:gd name="connsiteX86" fmla="*/ 7778882 w 9747620"/>
                <a:gd name="connsiteY86" fmla="*/ 6374477 h 6858000"/>
                <a:gd name="connsiteX87" fmla="*/ 7739563 w 9747620"/>
                <a:gd name="connsiteY87" fmla="*/ 6410328 h 6858000"/>
                <a:gd name="connsiteX88" fmla="*/ 7660824 w 9747620"/>
                <a:gd name="connsiteY88" fmla="*/ 6484138 h 6858000"/>
                <a:gd name="connsiteX89" fmla="*/ 7502302 w 9747620"/>
                <a:gd name="connsiteY89" fmla="*/ 6636360 h 6858000"/>
                <a:gd name="connsiteX90" fmla="*/ 7273394 w 9747620"/>
                <a:gd name="connsiteY90" fmla="*/ 6858000 h 6858000"/>
                <a:gd name="connsiteX91" fmla="*/ 6780690 w 9747620"/>
                <a:gd name="connsiteY91" fmla="*/ 6858000 h 6858000"/>
                <a:gd name="connsiteX92" fmla="*/ 6854939 w 9747620"/>
                <a:gd name="connsiteY92" fmla="*/ 6783597 h 6858000"/>
                <a:gd name="connsiteX93" fmla="*/ 6932087 w 9747620"/>
                <a:gd name="connsiteY93" fmla="*/ 6705809 h 6858000"/>
                <a:gd name="connsiteX94" fmla="*/ 7241130 w 9747620"/>
                <a:gd name="connsiteY94" fmla="*/ 6390965 h 6858000"/>
                <a:gd name="connsiteX95" fmla="*/ 7397564 w 9747620"/>
                <a:gd name="connsiteY95" fmla="*/ 6233087 h 6858000"/>
                <a:gd name="connsiteX96" fmla="*/ 7478142 w 9747620"/>
                <a:gd name="connsiteY96" fmla="*/ 6153670 h 6858000"/>
                <a:gd name="connsiteX97" fmla="*/ 7519600 w 9747620"/>
                <a:gd name="connsiteY97" fmla="*/ 6113937 h 6858000"/>
                <a:gd name="connsiteX98" fmla="*/ 7561207 w 9747620"/>
                <a:gd name="connsiteY98" fmla="*/ 6075067 h 6858000"/>
                <a:gd name="connsiteX99" fmla="*/ 7604204 w 9747620"/>
                <a:gd name="connsiteY99" fmla="*/ 6035526 h 6858000"/>
                <a:gd name="connsiteX100" fmla="*/ 7648644 w 9747620"/>
                <a:gd name="connsiteY100" fmla="*/ 5996416 h 6858000"/>
                <a:gd name="connsiteX101" fmla="*/ 7693830 w 9747620"/>
                <a:gd name="connsiteY101" fmla="*/ 5958264 h 6858000"/>
                <a:gd name="connsiteX102" fmla="*/ 7739662 w 9747620"/>
                <a:gd name="connsiteY102" fmla="*/ 5921073 h 6858000"/>
                <a:gd name="connsiteX103" fmla="*/ 7928458 w 9747620"/>
                <a:gd name="connsiteY103" fmla="*/ 5781025 h 6858000"/>
                <a:gd name="connsiteX104" fmla="*/ 8325882 w 9747620"/>
                <a:gd name="connsiteY104" fmla="*/ 5537450 h 6858000"/>
                <a:gd name="connsiteX105" fmla="*/ 8424555 w 9747620"/>
                <a:gd name="connsiteY105" fmla="*/ 5484106 h 6858000"/>
                <a:gd name="connsiteX106" fmla="*/ 8521737 w 9747620"/>
                <a:gd name="connsiteY106" fmla="*/ 5431289 h 6858000"/>
                <a:gd name="connsiteX107" fmla="*/ 8702677 w 9747620"/>
                <a:gd name="connsiteY107" fmla="*/ 5325942 h 6858000"/>
                <a:gd name="connsiteX108" fmla="*/ 8743986 w 9747620"/>
                <a:gd name="connsiteY108" fmla="*/ 5298717 h 6858000"/>
                <a:gd name="connsiteX109" fmla="*/ 8764167 w 9747620"/>
                <a:gd name="connsiteY109" fmla="*/ 5284723 h 6858000"/>
                <a:gd name="connsiteX110" fmla="*/ 8783704 w 9747620"/>
                <a:gd name="connsiteY110" fmla="*/ 5270679 h 6858000"/>
                <a:gd name="connsiteX111" fmla="*/ 8856776 w 9747620"/>
                <a:gd name="connsiteY111" fmla="*/ 5212399 h 6858000"/>
                <a:gd name="connsiteX112" fmla="*/ 8979856 w 9747620"/>
                <a:gd name="connsiteY112" fmla="*/ 5082081 h 6858000"/>
                <a:gd name="connsiteX113" fmla="*/ 9006699 w 9747620"/>
                <a:gd name="connsiteY113" fmla="*/ 5044984 h 6858000"/>
                <a:gd name="connsiteX114" fmla="*/ 9013509 w 9747620"/>
                <a:gd name="connsiteY114" fmla="*/ 5035254 h 6858000"/>
                <a:gd name="connsiteX115" fmla="*/ 9019773 w 9747620"/>
                <a:gd name="connsiteY115" fmla="*/ 5025812 h 6858000"/>
                <a:gd name="connsiteX116" fmla="*/ 9032050 w 9747620"/>
                <a:gd name="connsiteY116" fmla="*/ 5006833 h 6858000"/>
                <a:gd name="connsiteX117" fmla="*/ 9077733 w 9747620"/>
                <a:gd name="connsiteY117" fmla="*/ 4926839 h 6858000"/>
                <a:gd name="connsiteX118" fmla="*/ 9154285 w 9747620"/>
                <a:gd name="connsiteY118" fmla="*/ 4750223 h 6858000"/>
                <a:gd name="connsiteX119" fmla="*/ 9213936 w 9747620"/>
                <a:gd name="connsiteY119" fmla="*/ 4559945 h 6858000"/>
                <a:gd name="connsiteX120" fmla="*/ 9238592 w 9747620"/>
                <a:gd name="connsiteY120" fmla="*/ 4461357 h 6858000"/>
                <a:gd name="connsiteX121" fmla="*/ 9249776 w 9747620"/>
                <a:gd name="connsiteY121" fmla="*/ 4411319 h 6858000"/>
                <a:gd name="connsiteX122" fmla="*/ 9255046 w 9747620"/>
                <a:gd name="connsiteY122" fmla="*/ 4386299 h 6858000"/>
                <a:gd name="connsiteX123" fmla="*/ 9259718 w 9747620"/>
                <a:gd name="connsiteY123" fmla="*/ 4363342 h 6858000"/>
                <a:gd name="connsiteX124" fmla="*/ 9269959 w 9747620"/>
                <a:gd name="connsiteY124" fmla="*/ 4309566 h 6858000"/>
                <a:gd name="connsiteX125" fmla="*/ 9274233 w 9747620"/>
                <a:gd name="connsiteY125" fmla="*/ 4286176 h 6858000"/>
                <a:gd name="connsiteX126" fmla="*/ 9276022 w 9747620"/>
                <a:gd name="connsiteY126" fmla="*/ 4275489 h 6858000"/>
                <a:gd name="connsiteX127" fmla="*/ 9277861 w 9747620"/>
                <a:gd name="connsiteY127" fmla="*/ 4263506 h 6858000"/>
                <a:gd name="connsiteX128" fmla="*/ 9286014 w 9747620"/>
                <a:gd name="connsiteY128" fmla="*/ 4211696 h 6858000"/>
                <a:gd name="connsiteX129" fmla="*/ 9290092 w 9747620"/>
                <a:gd name="connsiteY129" fmla="*/ 4185767 h 6858000"/>
                <a:gd name="connsiteX130" fmla="*/ 9292128 w 9747620"/>
                <a:gd name="connsiteY130" fmla="*/ 4172826 h 6858000"/>
                <a:gd name="connsiteX131" fmla="*/ 9293720 w 9747620"/>
                <a:gd name="connsiteY131" fmla="*/ 4159693 h 6858000"/>
                <a:gd name="connsiteX132" fmla="*/ 9305650 w 9747620"/>
                <a:gd name="connsiteY132" fmla="*/ 4057941 h 6858000"/>
                <a:gd name="connsiteX133" fmla="*/ 9309378 w 9747620"/>
                <a:gd name="connsiteY133" fmla="*/ 4010779 h 6858000"/>
                <a:gd name="connsiteX134" fmla="*/ 9313454 w 9747620"/>
                <a:gd name="connsiteY134" fmla="*/ 3956428 h 6858000"/>
                <a:gd name="connsiteX135" fmla="*/ 9320811 w 9747620"/>
                <a:gd name="connsiteY135" fmla="*/ 3753546 h 6858000"/>
                <a:gd name="connsiteX136" fmla="*/ 9319617 w 9747620"/>
                <a:gd name="connsiteY136" fmla="*/ 3650643 h 6858000"/>
                <a:gd name="connsiteX137" fmla="*/ 9318176 w 9747620"/>
                <a:gd name="connsiteY137" fmla="*/ 3600030 h 6858000"/>
                <a:gd name="connsiteX138" fmla="*/ 9317778 w 9747620"/>
                <a:gd name="connsiteY138" fmla="*/ 3588096 h 6858000"/>
                <a:gd name="connsiteX139" fmla="*/ 9316983 w 9747620"/>
                <a:gd name="connsiteY139" fmla="*/ 3575107 h 6858000"/>
                <a:gd name="connsiteX140" fmla="*/ 9315443 w 9747620"/>
                <a:gd name="connsiteY140" fmla="*/ 3549130 h 6858000"/>
                <a:gd name="connsiteX141" fmla="*/ 9312311 w 9747620"/>
                <a:gd name="connsiteY141" fmla="*/ 3497176 h 6858000"/>
                <a:gd name="connsiteX142" fmla="*/ 9307587 w 9747620"/>
                <a:gd name="connsiteY142" fmla="*/ 3445029 h 6858000"/>
                <a:gd name="connsiteX143" fmla="*/ 9302618 w 9747620"/>
                <a:gd name="connsiteY143" fmla="*/ 3392835 h 6858000"/>
                <a:gd name="connsiteX144" fmla="*/ 9301574 w 9747620"/>
                <a:gd name="connsiteY144" fmla="*/ 3381476 h 6858000"/>
                <a:gd name="connsiteX145" fmla="*/ 9300430 w 9747620"/>
                <a:gd name="connsiteY145" fmla="*/ 3370740 h 6858000"/>
                <a:gd name="connsiteX146" fmla="*/ 9297547 w 9747620"/>
                <a:gd name="connsiteY146" fmla="*/ 3346966 h 6858000"/>
                <a:gd name="connsiteX147" fmla="*/ 9294017 w 9747620"/>
                <a:gd name="connsiteY147" fmla="*/ 3320030 h 6858000"/>
                <a:gd name="connsiteX148" fmla="*/ 9290439 w 9747620"/>
                <a:gd name="connsiteY148" fmla="*/ 3290410 h 6858000"/>
                <a:gd name="connsiteX149" fmla="*/ 9284275 w 9747620"/>
                <a:gd name="connsiteY149" fmla="*/ 3244544 h 6858000"/>
                <a:gd name="connsiteX150" fmla="*/ 9275974 w 9747620"/>
                <a:gd name="connsiteY150" fmla="*/ 3193116 h 6858000"/>
                <a:gd name="connsiteX151" fmla="*/ 9267224 w 9747620"/>
                <a:gd name="connsiteY151" fmla="*/ 3142264 h 6858000"/>
                <a:gd name="connsiteX152" fmla="*/ 9225320 w 9747620"/>
                <a:gd name="connsiteY152" fmla="*/ 2939909 h 6858000"/>
                <a:gd name="connsiteX153" fmla="*/ 9200466 w 9747620"/>
                <a:gd name="connsiteY153" fmla="*/ 2839449 h 6858000"/>
                <a:gd name="connsiteX154" fmla="*/ 9193953 w 9747620"/>
                <a:gd name="connsiteY154" fmla="*/ 2814958 h 6858000"/>
                <a:gd name="connsiteX155" fmla="*/ 9186993 w 9747620"/>
                <a:gd name="connsiteY155" fmla="*/ 2790276 h 6858000"/>
                <a:gd name="connsiteX156" fmla="*/ 9172628 w 9747620"/>
                <a:gd name="connsiteY156" fmla="*/ 2740621 h 6858000"/>
                <a:gd name="connsiteX157" fmla="*/ 9035082 w 9747620"/>
                <a:gd name="connsiteY157" fmla="*/ 2347463 h 6858000"/>
                <a:gd name="connsiteX158" fmla="*/ 8952118 w 9747620"/>
                <a:gd name="connsiteY158" fmla="*/ 2155413 h 6858000"/>
                <a:gd name="connsiteX159" fmla="*/ 8929948 w 9747620"/>
                <a:gd name="connsiteY159" fmla="*/ 2107915 h 6858000"/>
                <a:gd name="connsiteX160" fmla="*/ 8907429 w 9747620"/>
                <a:gd name="connsiteY160" fmla="*/ 2060753 h 6858000"/>
                <a:gd name="connsiteX161" fmla="*/ 8860404 w 9747620"/>
                <a:gd name="connsiteY161" fmla="*/ 1966478 h 6858000"/>
                <a:gd name="connsiteX162" fmla="*/ 8760788 w 9747620"/>
                <a:gd name="connsiteY162" fmla="*/ 1780274 h 6858000"/>
                <a:gd name="connsiteX163" fmla="*/ 8734740 w 9747620"/>
                <a:gd name="connsiteY163" fmla="*/ 1734311 h 6858000"/>
                <a:gd name="connsiteX164" fmla="*/ 8708046 w 9747620"/>
                <a:gd name="connsiteY164" fmla="*/ 1687963 h 6858000"/>
                <a:gd name="connsiteX165" fmla="*/ 8654062 w 9747620"/>
                <a:gd name="connsiteY165" fmla="*/ 1597234 h 6858000"/>
                <a:gd name="connsiteX166" fmla="*/ 8540278 w 9747620"/>
                <a:gd name="connsiteY166" fmla="*/ 1418077 h 6858000"/>
                <a:gd name="connsiteX167" fmla="*/ 8510701 w 9747620"/>
                <a:gd name="connsiteY167" fmla="*/ 1373695 h 6858000"/>
                <a:gd name="connsiteX168" fmla="*/ 8480676 w 9747620"/>
                <a:gd name="connsiteY168" fmla="*/ 1329457 h 6858000"/>
                <a:gd name="connsiteX169" fmla="*/ 8419782 w 9747620"/>
                <a:gd name="connsiteY169" fmla="*/ 1242275 h 6858000"/>
                <a:gd name="connsiteX170" fmla="*/ 8292478 w 9747620"/>
                <a:gd name="connsiteY170" fmla="*/ 1069875 h 6858000"/>
                <a:gd name="connsiteX171" fmla="*/ 8259620 w 9747620"/>
                <a:gd name="connsiteY171" fmla="*/ 1027123 h 6858000"/>
                <a:gd name="connsiteX172" fmla="*/ 8243416 w 9747620"/>
                <a:gd name="connsiteY172" fmla="*/ 1006130 h 6858000"/>
                <a:gd name="connsiteX173" fmla="*/ 8227110 w 9747620"/>
                <a:gd name="connsiteY173" fmla="*/ 985473 h 6858000"/>
                <a:gd name="connsiteX174" fmla="*/ 8159604 w 9747620"/>
                <a:gd name="connsiteY174" fmla="*/ 902029 h 6858000"/>
                <a:gd name="connsiteX175" fmla="*/ 8020022 w 9747620"/>
                <a:gd name="connsiteY175" fmla="*/ 738209 h 6858000"/>
                <a:gd name="connsiteX176" fmla="*/ 7984182 w 9747620"/>
                <a:gd name="connsiteY176" fmla="*/ 697901 h 6858000"/>
                <a:gd name="connsiteX177" fmla="*/ 7948043 w 9747620"/>
                <a:gd name="connsiteY177" fmla="*/ 657976 h 6858000"/>
                <a:gd name="connsiteX178" fmla="*/ 7874324 w 9747620"/>
                <a:gd name="connsiteY178" fmla="*/ 578607 h 6858000"/>
                <a:gd name="connsiteX179" fmla="*/ 7723308 w 9747620"/>
                <a:gd name="connsiteY179" fmla="*/ 424085 h 6858000"/>
                <a:gd name="connsiteX180" fmla="*/ 7565532 w 9747620"/>
                <a:gd name="connsiteY180" fmla="*/ 275602 h 6858000"/>
                <a:gd name="connsiteX181" fmla="*/ 1832515 w 9747620"/>
                <a:gd name="connsiteY181" fmla="*/ 0 h 6858000"/>
                <a:gd name="connsiteX182" fmla="*/ 2158449 w 9747620"/>
                <a:gd name="connsiteY182" fmla="*/ 0 h 6858000"/>
                <a:gd name="connsiteX183" fmla="*/ 2108797 w 9747620"/>
                <a:gd name="connsiteY183" fmla="*/ 37845 h 6858000"/>
                <a:gd name="connsiteX184" fmla="*/ 1942830 w 9747620"/>
                <a:gd name="connsiteY184" fmla="*/ 177587 h 6858000"/>
                <a:gd name="connsiteX185" fmla="*/ 1633191 w 9747620"/>
                <a:gd name="connsiteY185" fmla="*/ 477909 h 6858000"/>
                <a:gd name="connsiteX186" fmla="*/ 702686 w 9747620"/>
                <a:gd name="connsiteY186" fmla="*/ 1889935 h 6858000"/>
                <a:gd name="connsiteX187" fmla="*/ 551769 w 9747620"/>
                <a:gd name="connsiteY187" fmla="*/ 2281416 h 6858000"/>
                <a:gd name="connsiteX188" fmla="*/ 438383 w 9747620"/>
                <a:gd name="connsiteY188" fmla="*/ 2682772 h 6858000"/>
                <a:gd name="connsiteX189" fmla="*/ 397124 w 9747620"/>
                <a:gd name="connsiteY189" fmla="*/ 2887044 h 6858000"/>
                <a:gd name="connsiteX190" fmla="*/ 365658 w 9747620"/>
                <a:gd name="connsiteY190" fmla="*/ 3093424 h 6858000"/>
                <a:gd name="connsiteX191" fmla="*/ 332105 w 9747620"/>
                <a:gd name="connsiteY191" fmla="*/ 3509828 h 6858000"/>
                <a:gd name="connsiteX192" fmla="*/ 383653 w 9747620"/>
                <a:gd name="connsiteY192" fmla="*/ 4346327 h 6858000"/>
                <a:gd name="connsiteX193" fmla="*/ 422327 w 9747620"/>
                <a:gd name="connsiteY193" fmla="*/ 4552900 h 6858000"/>
                <a:gd name="connsiteX194" fmla="*/ 472184 w 9747620"/>
                <a:gd name="connsiteY194" fmla="*/ 4757939 h 6858000"/>
                <a:gd name="connsiteX195" fmla="*/ 533078 w 9747620"/>
                <a:gd name="connsiteY195" fmla="*/ 4960916 h 6858000"/>
                <a:gd name="connsiteX196" fmla="*/ 604710 w 9747620"/>
                <a:gd name="connsiteY196" fmla="*/ 5160875 h 6858000"/>
                <a:gd name="connsiteX197" fmla="*/ 996766 w 9747620"/>
                <a:gd name="connsiteY197" fmla="*/ 5920640 h 6858000"/>
                <a:gd name="connsiteX198" fmla="*/ 1549183 w 9747620"/>
                <a:gd name="connsiteY198" fmla="*/ 6586417 h 6858000"/>
                <a:gd name="connsiteX199" fmla="*/ 1709890 w 9747620"/>
                <a:gd name="connsiteY199" fmla="*/ 6734063 h 6858000"/>
                <a:gd name="connsiteX200" fmla="*/ 1859761 w 9747620"/>
                <a:gd name="connsiteY200" fmla="*/ 6858000 h 6858000"/>
                <a:gd name="connsiteX201" fmla="*/ 1671798 w 9747620"/>
                <a:gd name="connsiteY201" fmla="*/ 6858000 h 6858000"/>
                <a:gd name="connsiteX202" fmla="*/ 1628044 w 9747620"/>
                <a:gd name="connsiteY202" fmla="*/ 6822717 h 6858000"/>
                <a:gd name="connsiteX203" fmla="*/ 1459756 w 9747620"/>
                <a:gd name="connsiteY203" fmla="*/ 6674223 h 6858000"/>
                <a:gd name="connsiteX204" fmla="*/ 402543 w 9747620"/>
                <a:gd name="connsiteY204" fmla="*/ 5241588 h 6858000"/>
                <a:gd name="connsiteX205" fmla="*/ 311923 w 9747620"/>
                <a:gd name="connsiteY205" fmla="*/ 5036741 h 6858000"/>
                <a:gd name="connsiteX206" fmla="*/ 232140 w 9747620"/>
                <a:gd name="connsiteY206" fmla="*/ 4827483 h 6858000"/>
                <a:gd name="connsiteX207" fmla="*/ 163392 w 9747620"/>
                <a:gd name="connsiteY207" fmla="*/ 4613913 h 6858000"/>
                <a:gd name="connsiteX208" fmla="*/ 106823 w 9747620"/>
                <a:gd name="connsiteY208" fmla="*/ 4396365 h 6858000"/>
                <a:gd name="connsiteX209" fmla="*/ 29326 w 9747620"/>
                <a:gd name="connsiteY209" fmla="*/ 3954702 h 6858000"/>
                <a:gd name="connsiteX210" fmla="*/ 8647 w 9747620"/>
                <a:gd name="connsiteY210" fmla="*/ 3730971 h 6858000"/>
                <a:gd name="connsiteX211" fmla="*/ 2880 w 9747620"/>
                <a:gd name="connsiteY211" fmla="*/ 3618674 h 6858000"/>
                <a:gd name="connsiteX212" fmla="*/ 296 w 9747620"/>
                <a:gd name="connsiteY212" fmla="*/ 3506425 h 6858000"/>
                <a:gd name="connsiteX213" fmla="*/ 20030 w 9747620"/>
                <a:gd name="connsiteY213" fmla="*/ 3056711 h 6858000"/>
                <a:gd name="connsiteX214" fmla="*/ 48664 w 9747620"/>
                <a:gd name="connsiteY214" fmla="*/ 2832980 h 6858000"/>
                <a:gd name="connsiteX215" fmla="*/ 89922 w 9747620"/>
                <a:gd name="connsiteY215" fmla="*/ 2610639 h 6858000"/>
                <a:gd name="connsiteX216" fmla="*/ 211163 w 9747620"/>
                <a:gd name="connsiteY216" fmla="*/ 2174343 h 6858000"/>
                <a:gd name="connsiteX217" fmla="*/ 379129 w 9747620"/>
                <a:gd name="connsiteY217" fmla="*/ 1754393 h 6858000"/>
                <a:gd name="connsiteX218" fmla="*/ 841424 w 9747620"/>
                <a:gd name="connsiteY218" fmla="*/ 976270 h 6858000"/>
                <a:gd name="connsiteX219" fmla="*/ 1130234 w 9747620"/>
                <a:gd name="connsiteY219" fmla="*/ 625768 h 6858000"/>
                <a:gd name="connsiteX220" fmla="*/ 1452897 w 9747620"/>
                <a:gd name="connsiteY220" fmla="*/ 305748 h 6858000"/>
                <a:gd name="connsiteX221" fmla="*/ 1805682 w 9747620"/>
                <a:gd name="connsiteY221" fmla="*/ 187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9747620" h="6858000">
                  <a:moveTo>
                    <a:pt x="7235453" y="0"/>
                  </a:moveTo>
                  <a:lnTo>
                    <a:pt x="7548130" y="0"/>
                  </a:lnTo>
                  <a:lnTo>
                    <a:pt x="7710334" y="111973"/>
                  </a:lnTo>
                  <a:cubicBezTo>
                    <a:pt x="7770781" y="157314"/>
                    <a:pt x="7830282" y="203517"/>
                    <a:pt x="7889188" y="251542"/>
                  </a:cubicBezTo>
                  <a:cubicBezTo>
                    <a:pt x="7947894" y="299470"/>
                    <a:pt x="8005557" y="348453"/>
                    <a:pt x="8061828" y="398586"/>
                  </a:cubicBezTo>
                  <a:cubicBezTo>
                    <a:pt x="8090013" y="423605"/>
                    <a:pt x="8117948" y="448816"/>
                    <a:pt x="8145637" y="474218"/>
                  </a:cubicBezTo>
                  <a:cubicBezTo>
                    <a:pt x="8159506" y="486918"/>
                    <a:pt x="8173375" y="499764"/>
                    <a:pt x="8187242" y="512753"/>
                  </a:cubicBezTo>
                  <a:lnTo>
                    <a:pt x="8228402" y="551575"/>
                  </a:lnTo>
                  <a:cubicBezTo>
                    <a:pt x="8283082" y="603577"/>
                    <a:pt x="8336569" y="656778"/>
                    <a:pt x="8389211" y="710937"/>
                  </a:cubicBezTo>
                  <a:cubicBezTo>
                    <a:pt x="8415458" y="738065"/>
                    <a:pt x="8441455" y="765432"/>
                    <a:pt x="8467206" y="793088"/>
                  </a:cubicBezTo>
                  <a:lnTo>
                    <a:pt x="8486791" y="814223"/>
                  </a:lnTo>
                  <a:lnTo>
                    <a:pt x="8505979" y="835409"/>
                  </a:lnTo>
                  <a:lnTo>
                    <a:pt x="8543509" y="877346"/>
                  </a:lnTo>
                  <a:cubicBezTo>
                    <a:pt x="8593418" y="933423"/>
                    <a:pt x="8642579" y="990601"/>
                    <a:pt x="8690549" y="1048978"/>
                  </a:cubicBezTo>
                  <a:cubicBezTo>
                    <a:pt x="8714558" y="1078168"/>
                    <a:pt x="8738368" y="1107644"/>
                    <a:pt x="8761732" y="1137502"/>
                  </a:cubicBezTo>
                  <a:lnTo>
                    <a:pt x="8796379" y="1182077"/>
                  </a:lnTo>
                  <a:lnTo>
                    <a:pt x="8830678" y="1226986"/>
                  </a:lnTo>
                  <a:cubicBezTo>
                    <a:pt x="8876112" y="1287185"/>
                    <a:pt x="8920304" y="1348532"/>
                    <a:pt x="8963353" y="1410936"/>
                  </a:cubicBezTo>
                  <a:cubicBezTo>
                    <a:pt x="8984727" y="1442137"/>
                    <a:pt x="9005954" y="1473915"/>
                    <a:pt x="9026483" y="1505499"/>
                  </a:cubicBezTo>
                  <a:lnTo>
                    <a:pt x="9057004" y="1552613"/>
                  </a:lnTo>
                  <a:cubicBezTo>
                    <a:pt x="9067245" y="1568525"/>
                    <a:pt x="9077336" y="1584534"/>
                    <a:pt x="9087278" y="1600542"/>
                  </a:cubicBezTo>
                  <a:cubicBezTo>
                    <a:pt x="9127145" y="1664766"/>
                    <a:pt x="9165966" y="1729613"/>
                    <a:pt x="9202851" y="1795515"/>
                  </a:cubicBezTo>
                  <a:cubicBezTo>
                    <a:pt x="9221342" y="1828491"/>
                    <a:pt x="9239437" y="1861417"/>
                    <a:pt x="9257332" y="1894920"/>
                  </a:cubicBezTo>
                  <a:lnTo>
                    <a:pt x="9283778" y="1945436"/>
                  </a:lnTo>
                  <a:lnTo>
                    <a:pt x="9309428" y="1996193"/>
                  </a:lnTo>
                  <a:cubicBezTo>
                    <a:pt x="9343280" y="2064013"/>
                    <a:pt x="9375491" y="2132695"/>
                    <a:pt x="9405714" y="2202191"/>
                  </a:cubicBezTo>
                  <a:cubicBezTo>
                    <a:pt x="9466260" y="2341183"/>
                    <a:pt x="9520493" y="2483053"/>
                    <a:pt x="9566524" y="2627653"/>
                  </a:cubicBezTo>
                  <a:cubicBezTo>
                    <a:pt x="9572289" y="2645675"/>
                    <a:pt x="9578056" y="2663792"/>
                    <a:pt x="9583573" y="2682195"/>
                  </a:cubicBezTo>
                  <a:lnTo>
                    <a:pt x="9591974" y="2709707"/>
                  </a:lnTo>
                  <a:lnTo>
                    <a:pt x="9600027" y="2737650"/>
                  </a:lnTo>
                  <a:cubicBezTo>
                    <a:pt x="9610416" y="2774171"/>
                    <a:pt x="9620358" y="2810884"/>
                    <a:pt x="9629803" y="2847694"/>
                  </a:cubicBezTo>
                  <a:cubicBezTo>
                    <a:pt x="9648692" y="2921312"/>
                    <a:pt x="9665196" y="2995506"/>
                    <a:pt x="9679909" y="3070131"/>
                  </a:cubicBezTo>
                  <a:cubicBezTo>
                    <a:pt x="9683587" y="3088775"/>
                    <a:pt x="9687118" y="3107418"/>
                    <a:pt x="9690498" y="3126159"/>
                  </a:cubicBezTo>
                  <a:lnTo>
                    <a:pt x="9700390" y="3181805"/>
                  </a:lnTo>
                  <a:cubicBezTo>
                    <a:pt x="9703670" y="3201120"/>
                    <a:pt x="9706952" y="3222112"/>
                    <a:pt x="9709685" y="3243392"/>
                  </a:cubicBezTo>
                  <a:lnTo>
                    <a:pt x="9713016" y="3267597"/>
                  </a:lnTo>
                  <a:lnTo>
                    <a:pt x="9716844" y="3294437"/>
                  </a:lnTo>
                  <a:cubicBezTo>
                    <a:pt x="9718186" y="3303926"/>
                    <a:pt x="9719527" y="3313895"/>
                    <a:pt x="9720820" y="3324488"/>
                  </a:cubicBezTo>
                  <a:lnTo>
                    <a:pt x="9722709" y="3340737"/>
                  </a:lnTo>
                  <a:lnTo>
                    <a:pt x="9724301" y="3356361"/>
                  </a:lnTo>
                  <a:lnTo>
                    <a:pt x="9730166" y="3412197"/>
                  </a:lnTo>
                  <a:cubicBezTo>
                    <a:pt x="9732005" y="3430842"/>
                    <a:pt x="9734291" y="3449342"/>
                    <a:pt x="9735783" y="3468083"/>
                  </a:cubicBezTo>
                  <a:lnTo>
                    <a:pt x="9739760" y="3524399"/>
                  </a:lnTo>
                  <a:lnTo>
                    <a:pt x="9741748" y="3552580"/>
                  </a:lnTo>
                  <a:lnTo>
                    <a:pt x="9742742" y="3566672"/>
                  </a:lnTo>
                  <a:lnTo>
                    <a:pt x="9743488" y="3581865"/>
                  </a:lnTo>
                  <a:lnTo>
                    <a:pt x="9744731" y="3611341"/>
                  </a:lnTo>
                  <a:lnTo>
                    <a:pt x="9745725" y="3639715"/>
                  </a:lnTo>
                  <a:cubicBezTo>
                    <a:pt x="9746868" y="3677579"/>
                    <a:pt x="9747514" y="3715587"/>
                    <a:pt x="9747613" y="3753786"/>
                  </a:cubicBezTo>
                  <a:cubicBezTo>
                    <a:pt x="9747763" y="3830232"/>
                    <a:pt x="9745675" y="3906870"/>
                    <a:pt x="9740405" y="3984609"/>
                  </a:cubicBezTo>
                  <a:lnTo>
                    <a:pt x="9736329" y="4038434"/>
                  </a:lnTo>
                  <a:cubicBezTo>
                    <a:pt x="9735087" y="4055976"/>
                    <a:pt x="9733794" y="4076346"/>
                    <a:pt x="9731408" y="4099446"/>
                  </a:cubicBezTo>
                  <a:lnTo>
                    <a:pt x="9717987" y="4213325"/>
                  </a:lnTo>
                  <a:cubicBezTo>
                    <a:pt x="9717441" y="4217926"/>
                    <a:pt x="9716943" y="4222527"/>
                    <a:pt x="9716297" y="4227129"/>
                  </a:cubicBezTo>
                  <a:lnTo>
                    <a:pt x="9714110" y="4240981"/>
                  </a:lnTo>
                  <a:lnTo>
                    <a:pt x="9709785" y="4268731"/>
                  </a:lnTo>
                  <a:lnTo>
                    <a:pt x="9701086" y="4324185"/>
                  </a:lnTo>
                  <a:lnTo>
                    <a:pt x="9698699" y="4338994"/>
                  </a:lnTo>
                  <a:lnTo>
                    <a:pt x="9695966" y="4355050"/>
                  </a:lnTo>
                  <a:cubicBezTo>
                    <a:pt x="9694077" y="4365547"/>
                    <a:pt x="9692188" y="4375516"/>
                    <a:pt x="9690299" y="4385054"/>
                  </a:cubicBezTo>
                  <a:lnTo>
                    <a:pt x="9679909" y="4437919"/>
                  </a:lnTo>
                  <a:cubicBezTo>
                    <a:pt x="9677871" y="4448320"/>
                    <a:pt x="9675735" y="4458097"/>
                    <a:pt x="9673647" y="4468162"/>
                  </a:cubicBezTo>
                  <a:lnTo>
                    <a:pt x="9667532" y="4496296"/>
                  </a:lnTo>
                  <a:cubicBezTo>
                    <a:pt x="9663406" y="4514941"/>
                    <a:pt x="9659081" y="4533585"/>
                    <a:pt x="9654658" y="4552277"/>
                  </a:cubicBezTo>
                  <a:cubicBezTo>
                    <a:pt x="9645760" y="4589613"/>
                    <a:pt x="9636265" y="4627045"/>
                    <a:pt x="9625876" y="4664478"/>
                  </a:cubicBezTo>
                  <a:cubicBezTo>
                    <a:pt x="9605048" y="4739247"/>
                    <a:pt x="9581088" y="4814303"/>
                    <a:pt x="9552803" y="4888737"/>
                  </a:cubicBezTo>
                  <a:cubicBezTo>
                    <a:pt x="9524668" y="4962930"/>
                    <a:pt x="9492109" y="5037459"/>
                    <a:pt x="9452639" y="5110934"/>
                  </a:cubicBezTo>
                  <a:cubicBezTo>
                    <a:pt x="9432905" y="5147695"/>
                    <a:pt x="9411431" y="5184169"/>
                    <a:pt x="9388017" y="5220020"/>
                  </a:cubicBezTo>
                  <a:cubicBezTo>
                    <a:pt x="9382201" y="5228982"/>
                    <a:pt x="9376236" y="5237945"/>
                    <a:pt x="9370073" y="5246811"/>
                  </a:cubicBezTo>
                  <a:lnTo>
                    <a:pt x="9360926" y="5260040"/>
                  </a:lnTo>
                  <a:lnTo>
                    <a:pt x="9351829" y="5272646"/>
                  </a:lnTo>
                  <a:cubicBezTo>
                    <a:pt x="9339700" y="5289468"/>
                    <a:pt x="9327174" y="5306387"/>
                    <a:pt x="9313305" y="5323881"/>
                  </a:cubicBezTo>
                  <a:cubicBezTo>
                    <a:pt x="9258625" y="5393042"/>
                    <a:pt x="9196489" y="5455445"/>
                    <a:pt x="9130375" y="5510802"/>
                  </a:cubicBezTo>
                  <a:cubicBezTo>
                    <a:pt x="9097319" y="5538505"/>
                    <a:pt x="9063268" y="5564530"/>
                    <a:pt x="9028422" y="5588878"/>
                  </a:cubicBezTo>
                  <a:cubicBezTo>
                    <a:pt x="9019723" y="5595109"/>
                    <a:pt x="9011074" y="5600909"/>
                    <a:pt x="9002424" y="5606707"/>
                  </a:cubicBezTo>
                  <a:cubicBezTo>
                    <a:pt x="8993774" y="5612603"/>
                    <a:pt x="8985124" y="5618211"/>
                    <a:pt x="8976525" y="5623866"/>
                  </a:cubicBezTo>
                  <a:cubicBezTo>
                    <a:pt x="8959277" y="5635130"/>
                    <a:pt x="8941629" y="5646201"/>
                    <a:pt x="8924181" y="5656793"/>
                  </a:cubicBezTo>
                  <a:cubicBezTo>
                    <a:pt x="8854291" y="5699259"/>
                    <a:pt x="8784946" y="5736451"/>
                    <a:pt x="8717291" y="5771582"/>
                  </a:cubicBezTo>
                  <a:lnTo>
                    <a:pt x="8617129" y="5823105"/>
                  </a:lnTo>
                  <a:lnTo>
                    <a:pt x="8518207" y="5873671"/>
                  </a:lnTo>
                  <a:cubicBezTo>
                    <a:pt x="8391200" y="5939188"/>
                    <a:pt x="8267922" y="6009788"/>
                    <a:pt x="8150558" y="6086761"/>
                  </a:cubicBezTo>
                  <a:cubicBezTo>
                    <a:pt x="8091901" y="6125248"/>
                    <a:pt x="8034736" y="6165317"/>
                    <a:pt x="7979410" y="6207158"/>
                  </a:cubicBezTo>
                  <a:cubicBezTo>
                    <a:pt x="7965739" y="6217750"/>
                    <a:pt x="7951771" y="6228103"/>
                    <a:pt x="7938300" y="6238887"/>
                  </a:cubicBezTo>
                  <a:lnTo>
                    <a:pt x="7897936" y="6271286"/>
                  </a:lnTo>
                  <a:lnTo>
                    <a:pt x="7858367" y="6304357"/>
                  </a:lnTo>
                  <a:lnTo>
                    <a:pt x="7819048" y="6338770"/>
                  </a:lnTo>
                  <a:cubicBezTo>
                    <a:pt x="7804882" y="6351232"/>
                    <a:pt x="7792105" y="6362591"/>
                    <a:pt x="7778882" y="6374477"/>
                  </a:cubicBezTo>
                  <a:lnTo>
                    <a:pt x="7739563" y="6410328"/>
                  </a:lnTo>
                  <a:cubicBezTo>
                    <a:pt x="7713366" y="6434485"/>
                    <a:pt x="7687168" y="6459120"/>
                    <a:pt x="7660824" y="6484138"/>
                  </a:cubicBezTo>
                  <a:lnTo>
                    <a:pt x="7502302" y="6636360"/>
                  </a:lnTo>
                  <a:lnTo>
                    <a:pt x="7273394" y="6858000"/>
                  </a:lnTo>
                  <a:lnTo>
                    <a:pt x="6780690" y="6858000"/>
                  </a:lnTo>
                  <a:lnTo>
                    <a:pt x="6854939" y="6783597"/>
                  </a:lnTo>
                  <a:cubicBezTo>
                    <a:pt x="6880688" y="6757810"/>
                    <a:pt x="6906338" y="6732265"/>
                    <a:pt x="6932087" y="6705809"/>
                  </a:cubicBezTo>
                  <a:lnTo>
                    <a:pt x="7241130" y="6390965"/>
                  </a:lnTo>
                  <a:lnTo>
                    <a:pt x="7397564" y="6233087"/>
                  </a:lnTo>
                  <a:cubicBezTo>
                    <a:pt x="7424009" y="6206679"/>
                    <a:pt x="7450802" y="6180175"/>
                    <a:pt x="7478142" y="6153670"/>
                  </a:cubicBezTo>
                  <a:lnTo>
                    <a:pt x="7519600" y="6113937"/>
                  </a:lnTo>
                  <a:cubicBezTo>
                    <a:pt x="7533469" y="6100805"/>
                    <a:pt x="7547934" y="6087288"/>
                    <a:pt x="7561207" y="6075067"/>
                  </a:cubicBezTo>
                  <a:lnTo>
                    <a:pt x="7604204" y="6035526"/>
                  </a:lnTo>
                  <a:lnTo>
                    <a:pt x="7648644" y="5996416"/>
                  </a:lnTo>
                  <a:cubicBezTo>
                    <a:pt x="7663608" y="5983570"/>
                    <a:pt x="7678768" y="5971013"/>
                    <a:pt x="7693830" y="5958264"/>
                  </a:cubicBezTo>
                  <a:cubicBezTo>
                    <a:pt x="7708942" y="5945611"/>
                    <a:pt x="7724352" y="5933485"/>
                    <a:pt x="7739662" y="5921073"/>
                  </a:cubicBezTo>
                  <a:cubicBezTo>
                    <a:pt x="7801154" y="5872088"/>
                    <a:pt x="7864234" y="5825502"/>
                    <a:pt x="7928458" y="5781025"/>
                  </a:cubicBezTo>
                  <a:cubicBezTo>
                    <a:pt x="8057005" y="5692164"/>
                    <a:pt x="8190077" y="5611500"/>
                    <a:pt x="8325882" y="5537450"/>
                  </a:cubicBezTo>
                  <a:lnTo>
                    <a:pt x="8424555" y="5484106"/>
                  </a:lnTo>
                  <a:lnTo>
                    <a:pt x="8521737" y="5431289"/>
                  </a:lnTo>
                  <a:cubicBezTo>
                    <a:pt x="8585315" y="5396349"/>
                    <a:pt x="8646456" y="5361840"/>
                    <a:pt x="8702677" y="5325942"/>
                  </a:cubicBezTo>
                  <a:cubicBezTo>
                    <a:pt x="8716795" y="5316931"/>
                    <a:pt x="8730365" y="5308017"/>
                    <a:pt x="8743986" y="5298717"/>
                  </a:cubicBezTo>
                  <a:cubicBezTo>
                    <a:pt x="8750747" y="5294069"/>
                    <a:pt x="8757606" y="5289420"/>
                    <a:pt x="8764167" y="5284723"/>
                  </a:cubicBezTo>
                  <a:cubicBezTo>
                    <a:pt x="8770778" y="5280074"/>
                    <a:pt x="8777440" y="5275377"/>
                    <a:pt x="8783704" y="5270679"/>
                  </a:cubicBezTo>
                  <a:cubicBezTo>
                    <a:pt x="8809155" y="5251987"/>
                    <a:pt x="8833611" y="5232577"/>
                    <a:pt x="8856776" y="5212399"/>
                  </a:cubicBezTo>
                  <a:cubicBezTo>
                    <a:pt x="8903104" y="5172043"/>
                    <a:pt x="8944463" y="5128668"/>
                    <a:pt x="8979856" y="5082081"/>
                  </a:cubicBezTo>
                  <a:cubicBezTo>
                    <a:pt x="8988555" y="5070722"/>
                    <a:pt x="8997602" y="5057973"/>
                    <a:pt x="9006699" y="5044984"/>
                  </a:cubicBezTo>
                  <a:lnTo>
                    <a:pt x="9013509" y="5035254"/>
                  </a:lnTo>
                  <a:lnTo>
                    <a:pt x="9019773" y="5025812"/>
                  </a:lnTo>
                  <a:cubicBezTo>
                    <a:pt x="9023997" y="5019629"/>
                    <a:pt x="9028073" y="5013254"/>
                    <a:pt x="9032050" y="5006833"/>
                  </a:cubicBezTo>
                  <a:cubicBezTo>
                    <a:pt x="9048206" y="4981238"/>
                    <a:pt x="9063417" y="4954542"/>
                    <a:pt x="9077733" y="4926839"/>
                  </a:cubicBezTo>
                  <a:cubicBezTo>
                    <a:pt x="9106415" y="4871434"/>
                    <a:pt x="9131469" y="4812050"/>
                    <a:pt x="9154285" y="4750223"/>
                  </a:cubicBezTo>
                  <a:cubicBezTo>
                    <a:pt x="9176904" y="4688586"/>
                    <a:pt x="9196537" y="4625032"/>
                    <a:pt x="9213936" y="4559945"/>
                  </a:cubicBezTo>
                  <a:cubicBezTo>
                    <a:pt x="9222635" y="4527402"/>
                    <a:pt x="9230887" y="4494523"/>
                    <a:pt x="9238592" y="4461357"/>
                  </a:cubicBezTo>
                  <a:cubicBezTo>
                    <a:pt x="9242419" y="4444773"/>
                    <a:pt x="9246147" y="4428094"/>
                    <a:pt x="9249776" y="4411319"/>
                  </a:cubicBezTo>
                  <a:lnTo>
                    <a:pt x="9255046" y="4386299"/>
                  </a:lnTo>
                  <a:lnTo>
                    <a:pt x="9259718" y="4363342"/>
                  </a:lnTo>
                  <a:lnTo>
                    <a:pt x="9269959" y="4309566"/>
                  </a:lnTo>
                  <a:lnTo>
                    <a:pt x="9274233" y="4286176"/>
                  </a:lnTo>
                  <a:lnTo>
                    <a:pt x="9276022" y="4275489"/>
                  </a:lnTo>
                  <a:lnTo>
                    <a:pt x="9277861" y="4263506"/>
                  </a:lnTo>
                  <a:lnTo>
                    <a:pt x="9286014" y="4211696"/>
                  </a:lnTo>
                  <a:lnTo>
                    <a:pt x="9290092" y="4185767"/>
                  </a:lnTo>
                  <a:lnTo>
                    <a:pt x="9292128" y="4172826"/>
                  </a:lnTo>
                  <a:cubicBezTo>
                    <a:pt x="9292774" y="4168464"/>
                    <a:pt x="9293173" y="4164055"/>
                    <a:pt x="9293720" y="4159693"/>
                  </a:cubicBezTo>
                  <a:lnTo>
                    <a:pt x="9305650" y="4057941"/>
                  </a:lnTo>
                  <a:cubicBezTo>
                    <a:pt x="9306991" y="4045048"/>
                    <a:pt x="9308085" y="4029328"/>
                    <a:pt x="9309378" y="4010779"/>
                  </a:cubicBezTo>
                  <a:lnTo>
                    <a:pt x="9313454" y="3956428"/>
                  </a:lnTo>
                  <a:cubicBezTo>
                    <a:pt x="9318326" y="3889806"/>
                    <a:pt x="9320611" y="3821796"/>
                    <a:pt x="9320811" y="3753546"/>
                  </a:cubicBezTo>
                  <a:cubicBezTo>
                    <a:pt x="9320910" y="3719373"/>
                    <a:pt x="9320513" y="3685056"/>
                    <a:pt x="9319617" y="3650643"/>
                  </a:cubicBezTo>
                  <a:lnTo>
                    <a:pt x="9318176" y="3600030"/>
                  </a:lnTo>
                  <a:lnTo>
                    <a:pt x="9317778" y="3588096"/>
                  </a:lnTo>
                  <a:lnTo>
                    <a:pt x="9316983" y="3575107"/>
                  </a:lnTo>
                  <a:lnTo>
                    <a:pt x="9315443" y="3549130"/>
                  </a:lnTo>
                  <a:lnTo>
                    <a:pt x="9312311" y="3497176"/>
                  </a:lnTo>
                  <a:cubicBezTo>
                    <a:pt x="9311118" y="3479825"/>
                    <a:pt x="9309129" y="3462427"/>
                    <a:pt x="9307587" y="3445029"/>
                  </a:cubicBezTo>
                  <a:lnTo>
                    <a:pt x="9302618" y="3392835"/>
                  </a:lnTo>
                  <a:lnTo>
                    <a:pt x="9301574" y="3381476"/>
                  </a:lnTo>
                  <a:lnTo>
                    <a:pt x="9300430" y="3370740"/>
                  </a:lnTo>
                  <a:lnTo>
                    <a:pt x="9297547" y="3346966"/>
                  </a:lnTo>
                  <a:lnTo>
                    <a:pt x="9294017" y="3320030"/>
                  </a:lnTo>
                  <a:lnTo>
                    <a:pt x="9290439" y="3290410"/>
                  </a:lnTo>
                  <a:cubicBezTo>
                    <a:pt x="9288849" y="3275745"/>
                    <a:pt x="9286761" y="3260934"/>
                    <a:pt x="9284275" y="3244544"/>
                  </a:cubicBezTo>
                  <a:lnTo>
                    <a:pt x="9275974" y="3193116"/>
                  </a:lnTo>
                  <a:cubicBezTo>
                    <a:pt x="9273189" y="3176197"/>
                    <a:pt x="9270256" y="3159230"/>
                    <a:pt x="9267224" y="3142264"/>
                  </a:cubicBezTo>
                  <a:cubicBezTo>
                    <a:pt x="9255146" y="3074493"/>
                    <a:pt x="9240929" y="3007057"/>
                    <a:pt x="9225320" y="2939909"/>
                  </a:cubicBezTo>
                  <a:cubicBezTo>
                    <a:pt x="9217465" y="2906311"/>
                    <a:pt x="9209214" y="2872809"/>
                    <a:pt x="9200466" y="2839449"/>
                  </a:cubicBezTo>
                  <a:lnTo>
                    <a:pt x="9193953" y="2814958"/>
                  </a:lnTo>
                  <a:lnTo>
                    <a:pt x="9186993" y="2790276"/>
                  </a:lnTo>
                  <a:cubicBezTo>
                    <a:pt x="9182471" y="2773836"/>
                    <a:pt x="9177599" y="2757252"/>
                    <a:pt x="9172628" y="2740621"/>
                  </a:cubicBezTo>
                  <a:cubicBezTo>
                    <a:pt x="9133110" y="2607859"/>
                    <a:pt x="9087527" y="2476533"/>
                    <a:pt x="9035082" y="2347463"/>
                  </a:cubicBezTo>
                  <a:cubicBezTo>
                    <a:pt x="9008836" y="2282951"/>
                    <a:pt x="8981298" y="2218870"/>
                    <a:pt x="8952118" y="2155413"/>
                  </a:cubicBezTo>
                  <a:lnTo>
                    <a:pt x="8929948" y="2107915"/>
                  </a:lnTo>
                  <a:lnTo>
                    <a:pt x="8907429" y="2060753"/>
                  </a:lnTo>
                  <a:cubicBezTo>
                    <a:pt x="8892170" y="2029408"/>
                    <a:pt x="8876411" y="1997726"/>
                    <a:pt x="8860404" y="1966478"/>
                  </a:cubicBezTo>
                  <a:cubicBezTo>
                    <a:pt x="8828243" y="1903931"/>
                    <a:pt x="8795336" y="1841670"/>
                    <a:pt x="8760788" y="1780274"/>
                  </a:cubicBezTo>
                  <a:lnTo>
                    <a:pt x="8734740" y="1734311"/>
                  </a:lnTo>
                  <a:lnTo>
                    <a:pt x="8708046" y="1687963"/>
                  </a:lnTo>
                  <a:cubicBezTo>
                    <a:pt x="8690300" y="1657337"/>
                    <a:pt x="8672455" y="1627334"/>
                    <a:pt x="8654062" y="1597234"/>
                  </a:cubicBezTo>
                  <a:cubicBezTo>
                    <a:pt x="8617575" y="1536988"/>
                    <a:pt x="8579398" y="1477365"/>
                    <a:pt x="8540278" y="1418077"/>
                  </a:cubicBezTo>
                  <a:lnTo>
                    <a:pt x="8510701" y="1373695"/>
                  </a:lnTo>
                  <a:lnTo>
                    <a:pt x="8480676" y="1329457"/>
                  </a:lnTo>
                  <a:cubicBezTo>
                    <a:pt x="8460643" y="1300269"/>
                    <a:pt x="8440411" y="1271224"/>
                    <a:pt x="8419782" y="1242275"/>
                  </a:cubicBezTo>
                  <a:cubicBezTo>
                    <a:pt x="8378476" y="1184425"/>
                    <a:pt x="8335923" y="1127006"/>
                    <a:pt x="8292478" y="1069875"/>
                  </a:cubicBezTo>
                  <a:lnTo>
                    <a:pt x="8259620" y="1027123"/>
                  </a:lnTo>
                  <a:lnTo>
                    <a:pt x="8243416" y="1006130"/>
                  </a:lnTo>
                  <a:lnTo>
                    <a:pt x="8227110" y="985473"/>
                  </a:lnTo>
                  <a:cubicBezTo>
                    <a:pt x="8204890" y="957483"/>
                    <a:pt x="8182422" y="929684"/>
                    <a:pt x="8159604" y="902029"/>
                  </a:cubicBezTo>
                  <a:cubicBezTo>
                    <a:pt x="8114170" y="846671"/>
                    <a:pt x="8067494" y="792177"/>
                    <a:pt x="8020022" y="738209"/>
                  </a:cubicBezTo>
                  <a:lnTo>
                    <a:pt x="7984182" y="697901"/>
                  </a:lnTo>
                  <a:lnTo>
                    <a:pt x="7948043" y="657976"/>
                  </a:lnTo>
                  <a:cubicBezTo>
                    <a:pt x="7923636" y="631328"/>
                    <a:pt x="7899079" y="604823"/>
                    <a:pt x="7874324" y="578607"/>
                  </a:cubicBezTo>
                  <a:cubicBezTo>
                    <a:pt x="7824714" y="526221"/>
                    <a:pt x="7774608" y="474458"/>
                    <a:pt x="7723308" y="424085"/>
                  </a:cubicBezTo>
                  <a:cubicBezTo>
                    <a:pt x="7672157" y="373808"/>
                    <a:pt x="7619168" y="324153"/>
                    <a:pt x="7565532" y="275602"/>
                  </a:cubicBezTo>
                  <a:close/>
                  <a:moveTo>
                    <a:pt x="1832515" y="0"/>
                  </a:moveTo>
                  <a:lnTo>
                    <a:pt x="2158449" y="0"/>
                  </a:lnTo>
                  <a:lnTo>
                    <a:pt x="2108797" y="37845"/>
                  </a:lnTo>
                  <a:cubicBezTo>
                    <a:pt x="2052253" y="83168"/>
                    <a:pt x="1996914" y="129778"/>
                    <a:pt x="1942830" y="177587"/>
                  </a:cubicBezTo>
                  <a:cubicBezTo>
                    <a:pt x="1834563" y="273109"/>
                    <a:pt x="1731317" y="373472"/>
                    <a:pt x="1633191" y="477909"/>
                  </a:cubicBezTo>
                  <a:cubicBezTo>
                    <a:pt x="1240290" y="896038"/>
                    <a:pt x="927123" y="1375900"/>
                    <a:pt x="702686" y="1889935"/>
                  </a:cubicBezTo>
                  <a:cubicBezTo>
                    <a:pt x="646565" y="2018192"/>
                    <a:pt x="596210" y="2149182"/>
                    <a:pt x="551769" y="2281416"/>
                  </a:cubicBezTo>
                  <a:cubicBezTo>
                    <a:pt x="507429" y="2413700"/>
                    <a:pt x="469451" y="2547613"/>
                    <a:pt x="438383" y="2682772"/>
                  </a:cubicBezTo>
                  <a:cubicBezTo>
                    <a:pt x="423122" y="2750111"/>
                    <a:pt x="409203" y="2818553"/>
                    <a:pt x="397124" y="2887044"/>
                  </a:cubicBezTo>
                  <a:cubicBezTo>
                    <a:pt x="385144" y="2955581"/>
                    <a:pt x="374357" y="3024359"/>
                    <a:pt x="365658" y="3093424"/>
                  </a:cubicBezTo>
                  <a:cubicBezTo>
                    <a:pt x="347813" y="3231506"/>
                    <a:pt x="336727" y="3370260"/>
                    <a:pt x="332105" y="3509828"/>
                  </a:cubicBezTo>
                  <a:cubicBezTo>
                    <a:pt x="322311" y="3788822"/>
                    <a:pt x="339660" y="4068628"/>
                    <a:pt x="383653" y="4346327"/>
                  </a:cubicBezTo>
                  <a:cubicBezTo>
                    <a:pt x="394539" y="4415489"/>
                    <a:pt x="407464" y="4484267"/>
                    <a:pt x="422327" y="4552900"/>
                  </a:cubicBezTo>
                  <a:cubicBezTo>
                    <a:pt x="437041" y="4621534"/>
                    <a:pt x="453693" y="4689881"/>
                    <a:pt x="472184" y="4757939"/>
                  </a:cubicBezTo>
                  <a:cubicBezTo>
                    <a:pt x="490677" y="4825949"/>
                    <a:pt x="511007" y="4893673"/>
                    <a:pt x="533078" y="4960916"/>
                  </a:cubicBezTo>
                  <a:cubicBezTo>
                    <a:pt x="555249" y="5028208"/>
                    <a:pt x="578662" y="5095022"/>
                    <a:pt x="604710" y="5160875"/>
                  </a:cubicBezTo>
                  <a:cubicBezTo>
                    <a:pt x="707358" y="5425298"/>
                    <a:pt x="838443" y="5680902"/>
                    <a:pt x="996766" y="5920640"/>
                  </a:cubicBezTo>
                  <a:cubicBezTo>
                    <a:pt x="1154790" y="6160571"/>
                    <a:pt x="1340404" y="6384350"/>
                    <a:pt x="1549183" y="6586417"/>
                  </a:cubicBezTo>
                  <a:cubicBezTo>
                    <a:pt x="1601365" y="6636982"/>
                    <a:pt x="1654970" y="6686208"/>
                    <a:pt x="1709890" y="6734063"/>
                  </a:cubicBezTo>
                  <a:lnTo>
                    <a:pt x="1859761" y="6858000"/>
                  </a:lnTo>
                  <a:lnTo>
                    <a:pt x="1671798" y="6858000"/>
                  </a:lnTo>
                  <a:lnTo>
                    <a:pt x="1628044" y="6822717"/>
                  </a:lnTo>
                  <a:cubicBezTo>
                    <a:pt x="1570828" y="6774460"/>
                    <a:pt x="1514710" y="6724955"/>
                    <a:pt x="1459756" y="6674223"/>
                  </a:cubicBezTo>
                  <a:cubicBezTo>
                    <a:pt x="1019931" y="6268363"/>
                    <a:pt x="658296" y="5781216"/>
                    <a:pt x="402543" y="5241588"/>
                  </a:cubicBezTo>
                  <a:cubicBezTo>
                    <a:pt x="370231" y="5174103"/>
                    <a:pt x="340306" y="5105661"/>
                    <a:pt x="311923" y="5036741"/>
                  </a:cubicBezTo>
                  <a:cubicBezTo>
                    <a:pt x="283539" y="4967771"/>
                    <a:pt x="256895" y="4897986"/>
                    <a:pt x="232140" y="4827483"/>
                  </a:cubicBezTo>
                  <a:cubicBezTo>
                    <a:pt x="207334" y="4756981"/>
                    <a:pt x="184368" y="4685758"/>
                    <a:pt x="163392" y="4613913"/>
                  </a:cubicBezTo>
                  <a:cubicBezTo>
                    <a:pt x="142514" y="4542020"/>
                    <a:pt x="123624" y="4469360"/>
                    <a:pt x="106823" y="4396365"/>
                  </a:cubicBezTo>
                  <a:cubicBezTo>
                    <a:pt x="73120" y="4250902"/>
                    <a:pt x="47371" y="4103281"/>
                    <a:pt x="29326" y="3954702"/>
                  </a:cubicBezTo>
                  <a:cubicBezTo>
                    <a:pt x="20478" y="3880365"/>
                    <a:pt x="13320" y="3805789"/>
                    <a:pt x="8647" y="3730971"/>
                  </a:cubicBezTo>
                  <a:cubicBezTo>
                    <a:pt x="6311" y="3693587"/>
                    <a:pt x="4322" y="3656106"/>
                    <a:pt x="2880" y="3618674"/>
                  </a:cubicBezTo>
                  <a:cubicBezTo>
                    <a:pt x="1539" y="3581146"/>
                    <a:pt x="694" y="3543809"/>
                    <a:pt x="296" y="3506425"/>
                  </a:cubicBezTo>
                  <a:cubicBezTo>
                    <a:pt x="-1543" y="3356649"/>
                    <a:pt x="5217" y="3206200"/>
                    <a:pt x="20030" y="3056711"/>
                  </a:cubicBezTo>
                  <a:cubicBezTo>
                    <a:pt x="27686" y="2981942"/>
                    <a:pt x="36931" y="2907317"/>
                    <a:pt x="48664" y="2832980"/>
                  </a:cubicBezTo>
                  <a:cubicBezTo>
                    <a:pt x="60395" y="2758642"/>
                    <a:pt x="73716" y="2684784"/>
                    <a:pt x="89922" y="2610639"/>
                  </a:cubicBezTo>
                  <a:cubicBezTo>
                    <a:pt x="121736" y="2462826"/>
                    <a:pt x="162645" y="2317220"/>
                    <a:pt x="211163" y="2174343"/>
                  </a:cubicBezTo>
                  <a:cubicBezTo>
                    <a:pt x="259778" y="2031468"/>
                    <a:pt x="315601" y="1891517"/>
                    <a:pt x="379129" y="1754393"/>
                  </a:cubicBezTo>
                  <a:cubicBezTo>
                    <a:pt x="505540" y="1480433"/>
                    <a:pt x="660930" y="1219318"/>
                    <a:pt x="841424" y="976270"/>
                  </a:cubicBezTo>
                  <a:cubicBezTo>
                    <a:pt x="931498" y="854627"/>
                    <a:pt x="1028182" y="737777"/>
                    <a:pt x="1130234" y="625768"/>
                  </a:cubicBezTo>
                  <a:cubicBezTo>
                    <a:pt x="1232486" y="513855"/>
                    <a:pt x="1340157" y="407117"/>
                    <a:pt x="1452897" y="305748"/>
                  </a:cubicBezTo>
                  <a:cubicBezTo>
                    <a:pt x="1565736" y="204380"/>
                    <a:pt x="1683596" y="108665"/>
                    <a:pt x="1805682" y="18752"/>
                  </a:cubicBezTo>
                  <a:close/>
                </a:path>
              </a:pathLst>
            </a:custGeom>
            <a:gradFill>
              <a:gsLst>
                <a:gs pos="2000">
                  <a:schemeClr val="bg1">
                    <a:alpha val="10000"/>
                  </a:schemeClr>
                </a:gs>
                <a:gs pos="16000">
                  <a:schemeClr val="accent6">
                    <a:alpha val="2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Shape 19">
              <a:extLst>
                <a:ext uri="{FF2B5EF4-FFF2-40B4-BE49-F238E27FC236}">
                  <a16:creationId xmlns:a16="http://schemas.microsoft.com/office/drawing/2014/main" id="{5A7FF51F-3820-41BE-8690-7E758ECFA7C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8320" y="36937"/>
              <a:ext cx="9767847" cy="6858000"/>
            </a:xfrm>
            <a:custGeom>
              <a:avLst/>
              <a:gdLst>
                <a:gd name="connsiteX0" fmla="*/ 7151367 w 9767847"/>
                <a:gd name="connsiteY0" fmla="*/ 0 h 6858000"/>
                <a:gd name="connsiteX1" fmla="*/ 7881247 w 9767847"/>
                <a:gd name="connsiteY1" fmla="*/ 0 h 6858000"/>
                <a:gd name="connsiteX2" fmla="*/ 7990553 w 9767847"/>
                <a:gd name="connsiteY2" fmla="*/ 81317 h 6858000"/>
                <a:gd name="connsiteX3" fmla="*/ 9767847 w 9767847"/>
                <a:gd name="connsiteY3" fmla="*/ 3649031 h 6858000"/>
                <a:gd name="connsiteX4" fmla="*/ 8652597 w 9767847"/>
                <a:gd name="connsiteY4" fmla="*/ 6590005 h 6858000"/>
                <a:gd name="connsiteX5" fmla="*/ 8395306 w 9767847"/>
                <a:gd name="connsiteY5" fmla="*/ 6858000 h 6858000"/>
                <a:gd name="connsiteX6" fmla="*/ 6762603 w 9767847"/>
                <a:gd name="connsiteY6" fmla="*/ 6858000 h 6858000"/>
                <a:gd name="connsiteX7" fmla="*/ 6765962 w 9767847"/>
                <a:gd name="connsiteY7" fmla="*/ 6854844 h 6858000"/>
                <a:gd name="connsiteX8" fmla="*/ 6804586 w 9767847"/>
                <a:gd name="connsiteY8" fmla="*/ 6817103 h 6858000"/>
                <a:gd name="connsiteX9" fmla="*/ 6881735 w 9767847"/>
                <a:gd name="connsiteY9" fmla="*/ 6741197 h 6858000"/>
                <a:gd name="connsiteX10" fmla="*/ 6958883 w 9767847"/>
                <a:gd name="connsiteY10" fmla="*/ 6664822 h 6858000"/>
                <a:gd name="connsiteX11" fmla="*/ 7267925 w 9767847"/>
                <a:gd name="connsiteY11" fmla="*/ 6355694 h 6858000"/>
                <a:gd name="connsiteX12" fmla="*/ 7424360 w 9767847"/>
                <a:gd name="connsiteY12" fmla="*/ 6200685 h 6858000"/>
                <a:gd name="connsiteX13" fmla="*/ 7504938 w 9767847"/>
                <a:gd name="connsiteY13" fmla="*/ 6122708 h 6858000"/>
                <a:gd name="connsiteX14" fmla="*/ 7546396 w 9767847"/>
                <a:gd name="connsiteY14" fmla="*/ 6083697 h 6858000"/>
                <a:gd name="connsiteX15" fmla="*/ 7588002 w 9767847"/>
                <a:gd name="connsiteY15" fmla="*/ 6045532 h 6858000"/>
                <a:gd name="connsiteX16" fmla="*/ 7631000 w 9767847"/>
                <a:gd name="connsiteY16" fmla="*/ 6006709 h 6858000"/>
                <a:gd name="connsiteX17" fmla="*/ 7675440 w 9767847"/>
                <a:gd name="connsiteY17" fmla="*/ 5968309 h 6858000"/>
                <a:gd name="connsiteX18" fmla="*/ 7720626 w 9767847"/>
                <a:gd name="connsiteY18" fmla="*/ 5930851 h 6858000"/>
                <a:gd name="connsiteX19" fmla="*/ 7766458 w 9767847"/>
                <a:gd name="connsiteY19" fmla="*/ 5894334 h 6858000"/>
                <a:gd name="connsiteX20" fmla="*/ 7955254 w 9767847"/>
                <a:gd name="connsiteY20" fmla="*/ 5756828 h 6858000"/>
                <a:gd name="connsiteX21" fmla="*/ 8352678 w 9767847"/>
                <a:gd name="connsiteY21" fmla="*/ 5517630 h 6858000"/>
                <a:gd name="connsiteX22" fmla="*/ 8451350 w 9767847"/>
                <a:gd name="connsiteY22" fmla="*/ 5465254 h 6858000"/>
                <a:gd name="connsiteX23" fmla="*/ 8548532 w 9767847"/>
                <a:gd name="connsiteY23" fmla="*/ 5413395 h 6858000"/>
                <a:gd name="connsiteX24" fmla="*/ 8729473 w 9767847"/>
                <a:gd name="connsiteY24" fmla="*/ 5309961 h 6858000"/>
                <a:gd name="connsiteX25" fmla="*/ 8770781 w 9767847"/>
                <a:gd name="connsiteY25" fmla="*/ 5283232 h 6858000"/>
                <a:gd name="connsiteX26" fmla="*/ 8790964 w 9767847"/>
                <a:gd name="connsiteY26" fmla="*/ 5269492 h 6858000"/>
                <a:gd name="connsiteX27" fmla="*/ 8810499 w 9767847"/>
                <a:gd name="connsiteY27" fmla="*/ 5255703 h 6858000"/>
                <a:gd name="connsiteX28" fmla="*/ 8883571 w 9767847"/>
                <a:gd name="connsiteY28" fmla="*/ 5198479 h 6858000"/>
                <a:gd name="connsiteX29" fmla="*/ 9006651 w 9767847"/>
                <a:gd name="connsiteY29" fmla="*/ 5070527 h 6858000"/>
                <a:gd name="connsiteX30" fmla="*/ 9033494 w 9767847"/>
                <a:gd name="connsiteY30" fmla="*/ 5034105 h 6858000"/>
                <a:gd name="connsiteX31" fmla="*/ 9040305 w 9767847"/>
                <a:gd name="connsiteY31" fmla="*/ 5024551 h 6858000"/>
                <a:gd name="connsiteX32" fmla="*/ 9046568 w 9767847"/>
                <a:gd name="connsiteY32" fmla="*/ 5015281 h 6858000"/>
                <a:gd name="connsiteX33" fmla="*/ 9058846 w 9767847"/>
                <a:gd name="connsiteY33" fmla="*/ 4996645 h 6858000"/>
                <a:gd name="connsiteX34" fmla="*/ 9104529 w 9767847"/>
                <a:gd name="connsiteY34" fmla="*/ 4918105 h 6858000"/>
                <a:gd name="connsiteX35" fmla="*/ 9181081 w 9767847"/>
                <a:gd name="connsiteY35" fmla="*/ 4744694 h 6858000"/>
                <a:gd name="connsiteX36" fmla="*/ 9240731 w 9767847"/>
                <a:gd name="connsiteY36" fmla="*/ 4557872 h 6858000"/>
                <a:gd name="connsiteX37" fmla="*/ 9265388 w 9767847"/>
                <a:gd name="connsiteY37" fmla="*/ 4461073 h 6858000"/>
                <a:gd name="connsiteX38" fmla="*/ 9276571 w 9767847"/>
                <a:gd name="connsiteY38" fmla="*/ 4411943 h 6858000"/>
                <a:gd name="connsiteX39" fmla="*/ 9281841 w 9767847"/>
                <a:gd name="connsiteY39" fmla="*/ 4387379 h 6858000"/>
                <a:gd name="connsiteX40" fmla="*/ 9286513 w 9767847"/>
                <a:gd name="connsiteY40" fmla="*/ 4364838 h 6858000"/>
                <a:gd name="connsiteX41" fmla="*/ 9296754 w 9767847"/>
                <a:gd name="connsiteY41" fmla="*/ 4312038 h 6858000"/>
                <a:gd name="connsiteX42" fmla="*/ 9301029 w 9767847"/>
                <a:gd name="connsiteY42" fmla="*/ 4289074 h 6858000"/>
                <a:gd name="connsiteX43" fmla="*/ 9302818 w 9767847"/>
                <a:gd name="connsiteY43" fmla="*/ 4278581 h 6858000"/>
                <a:gd name="connsiteX44" fmla="*/ 9304658 w 9767847"/>
                <a:gd name="connsiteY44" fmla="*/ 4266816 h 6858000"/>
                <a:gd name="connsiteX45" fmla="*/ 9312810 w 9767847"/>
                <a:gd name="connsiteY45" fmla="*/ 4215945 h 6858000"/>
                <a:gd name="connsiteX46" fmla="*/ 9316887 w 9767847"/>
                <a:gd name="connsiteY46" fmla="*/ 4190486 h 6858000"/>
                <a:gd name="connsiteX47" fmla="*/ 9318923 w 9767847"/>
                <a:gd name="connsiteY47" fmla="*/ 4177780 h 6858000"/>
                <a:gd name="connsiteX48" fmla="*/ 9320515 w 9767847"/>
                <a:gd name="connsiteY48" fmla="*/ 4164886 h 6858000"/>
                <a:gd name="connsiteX49" fmla="*/ 9332445 w 9767847"/>
                <a:gd name="connsiteY49" fmla="*/ 4064981 h 6858000"/>
                <a:gd name="connsiteX50" fmla="*/ 9336173 w 9767847"/>
                <a:gd name="connsiteY50" fmla="*/ 4018676 h 6858000"/>
                <a:gd name="connsiteX51" fmla="*/ 9340199 w 9767847"/>
                <a:gd name="connsiteY51" fmla="*/ 3965171 h 6858000"/>
                <a:gd name="connsiteX52" fmla="*/ 9347557 w 9767847"/>
                <a:gd name="connsiteY52" fmla="*/ 3765972 h 6858000"/>
                <a:gd name="connsiteX53" fmla="*/ 9346364 w 9767847"/>
                <a:gd name="connsiteY53" fmla="*/ 3664938 h 6858000"/>
                <a:gd name="connsiteX54" fmla="*/ 9344921 w 9767847"/>
                <a:gd name="connsiteY54" fmla="*/ 3615243 h 6858000"/>
                <a:gd name="connsiteX55" fmla="*/ 9344524 w 9767847"/>
                <a:gd name="connsiteY55" fmla="*/ 3603526 h 6858000"/>
                <a:gd name="connsiteX56" fmla="*/ 9343728 w 9767847"/>
                <a:gd name="connsiteY56" fmla="*/ 3590774 h 6858000"/>
                <a:gd name="connsiteX57" fmla="*/ 9342188 w 9767847"/>
                <a:gd name="connsiteY57" fmla="*/ 3565268 h 6858000"/>
                <a:gd name="connsiteX58" fmla="*/ 9339056 w 9767847"/>
                <a:gd name="connsiteY58" fmla="*/ 3514256 h 6858000"/>
                <a:gd name="connsiteX59" fmla="*/ 9334334 w 9767847"/>
                <a:gd name="connsiteY59" fmla="*/ 3463057 h 6858000"/>
                <a:gd name="connsiteX60" fmla="*/ 9329363 w 9767847"/>
                <a:gd name="connsiteY60" fmla="*/ 3411810 h 6858000"/>
                <a:gd name="connsiteX61" fmla="*/ 9328319 w 9767847"/>
                <a:gd name="connsiteY61" fmla="*/ 3400657 h 6858000"/>
                <a:gd name="connsiteX62" fmla="*/ 9327177 w 9767847"/>
                <a:gd name="connsiteY62" fmla="*/ 3390116 h 6858000"/>
                <a:gd name="connsiteX63" fmla="*/ 9324293 w 9767847"/>
                <a:gd name="connsiteY63" fmla="*/ 3366774 h 6858000"/>
                <a:gd name="connsiteX64" fmla="*/ 9320763 w 9767847"/>
                <a:gd name="connsiteY64" fmla="*/ 3340329 h 6858000"/>
                <a:gd name="connsiteX65" fmla="*/ 9317184 w 9767847"/>
                <a:gd name="connsiteY65" fmla="*/ 3311245 h 6858000"/>
                <a:gd name="connsiteX66" fmla="*/ 9311021 w 9767847"/>
                <a:gd name="connsiteY66" fmla="*/ 3266211 h 6858000"/>
                <a:gd name="connsiteX67" fmla="*/ 9302719 w 9767847"/>
                <a:gd name="connsiteY67" fmla="*/ 3215717 h 6858000"/>
                <a:gd name="connsiteX68" fmla="*/ 9293970 w 9767847"/>
                <a:gd name="connsiteY68" fmla="*/ 3165789 h 6858000"/>
                <a:gd name="connsiteX69" fmla="*/ 9252065 w 9767847"/>
                <a:gd name="connsiteY69" fmla="*/ 2967107 h 6858000"/>
                <a:gd name="connsiteX70" fmla="*/ 9227211 w 9767847"/>
                <a:gd name="connsiteY70" fmla="*/ 2868473 h 6858000"/>
                <a:gd name="connsiteX71" fmla="*/ 9220699 w 9767847"/>
                <a:gd name="connsiteY71" fmla="*/ 2844426 h 6858000"/>
                <a:gd name="connsiteX72" fmla="*/ 9213740 w 9767847"/>
                <a:gd name="connsiteY72" fmla="*/ 2820191 h 6858000"/>
                <a:gd name="connsiteX73" fmla="*/ 9199374 w 9767847"/>
                <a:gd name="connsiteY73" fmla="*/ 2771438 h 6858000"/>
                <a:gd name="connsiteX74" fmla="*/ 9061829 w 9767847"/>
                <a:gd name="connsiteY74" fmla="*/ 2385418 h 6858000"/>
                <a:gd name="connsiteX75" fmla="*/ 8978865 w 9767847"/>
                <a:gd name="connsiteY75" fmla="*/ 2196855 h 6858000"/>
                <a:gd name="connsiteX76" fmla="*/ 8956694 w 9767847"/>
                <a:gd name="connsiteY76" fmla="*/ 2150219 h 6858000"/>
                <a:gd name="connsiteX77" fmla="*/ 8934176 w 9767847"/>
                <a:gd name="connsiteY77" fmla="*/ 2103914 h 6858000"/>
                <a:gd name="connsiteX78" fmla="*/ 8887151 w 9767847"/>
                <a:gd name="connsiteY78" fmla="*/ 2011350 h 6858000"/>
                <a:gd name="connsiteX79" fmla="*/ 8787533 w 9767847"/>
                <a:gd name="connsiteY79" fmla="*/ 1828527 h 6858000"/>
                <a:gd name="connsiteX80" fmla="*/ 8761485 w 9767847"/>
                <a:gd name="connsiteY80" fmla="*/ 1783398 h 6858000"/>
                <a:gd name="connsiteX81" fmla="*/ 8734791 w 9767847"/>
                <a:gd name="connsiteY81" fmla="*/ 1737893 h 6858000"/>
                <a:gd name="connsiteX82" fmla="*/ 8680808 w 9767847"/>
                <a:gd name="connsiteY82" fmla="*/ 1648812 h 6858000"/>
                <a:gd name="connsiteX83" fmla="*/ 8567024 w 9767847"/>
                <a:gd name="connsiteY83" fmla="*/ 1472906 h 6858000"/>
                <a:gd name="connsiteX84" fmla="*/ 8537446 w 9767847"/>
                <a:gd name="connsiteY84" fmla="*/ 1429330 h 6858000"/>
                <a:gd name="connsiteX85" fmla="*/ 8507423 w 9767847"/>
                <a:gd name="connsiteY85" fmla="*/ 1385896 h 6858000"/>
                <a:gd name="connsiteX86" fmla="*/ 8446529 w 9767847"/>
                <a:gd name="connsiteY86" fmla="*/ 1300295 h 6858000"/>
                <a:gd name="connsiteX87" fmla="*/ 8319224 w 9767847"/>
                <a:gd name="connsiteY87" fmla="*/ 1131026 h 6858000"/>
                <a:gd name="connsiteX88" fmla="*/ 8286366 w 9767847"/>
                <a:gd name="connsiteY88" fmla="*/ 1089050 h 6858000"/>
                <a:gd name="connsiteX89" fmla="*/ 8270161 w 9767847"/>
                <a:gd name="connsiteY89" fmla="*/ 1068439 h 6858000"/>
                <a:gd name="connsiteX90" fmla="*/ 8253856 w 9767847"/>
                <a:gd name="connsiteY90" fmla="*/ 1048156 h 6858000"/>
                <a:gd name="connsiteX91" fmla="*/ 8186352 w 9767847"/>
                <a:gd name="connsiteY91" fmla="*/ 966275 h 6858000"/>
                <a:gd name="connsiteX92" fmla="*/ 8046768 w 9767847"/>
                <a:gd name="connsiteY92" fmla="*/ 805429 h 6858000"/>
                <a:gd name="connsiteX93" fmla="*/ 8010927 w 9767847"/>
                <a:gd name="connsiteY93" fmla="*/ 765853 h 6858000"/>
                <a:gd name="connsiteX94" fmla="*/ 7974788 w 9767847"/>
                <a:gd name="connsiteY94" fmla="*/ 726653 h 6858000"/>
                <a:gd name="connsiteX95" fmla="*/ 7901070 w 9767847"/>
                <a:gd name="connsiteY95" fmla="*/ 648724 h 6858000"/>
                <a:gd name="connsiteX96" fmla="*/ 7750054 w 9767847"/>
                <a:gd name="connsiteY96" fmla="*/ 497008 h 6858000"/>
                <a:gd name="connsiteX97" fmla="*/ 7592277 w 9767847"/>
                <a:gd name="connsiteY97" fmla="*/ 351221 h 6858000"/>
                <a:gd name="connsiteX98" fmla="*/ 7257734 w 9767847"/>
                <a:gd name="connsiteY98" fmla="*/ 76964 h 6858000"/>
                <a:gd name="connsiteX99" fmla="*/ 1886601 w 9767847"/>
                <a:gd name="connsiteY99" fmla="*/ 0 h 6858000"/>
                <a:gd name="connsiteX100" fmla="*/ 2292926 w 9767847"/>
                <a:gd name="connsiteY100" fmla="*/ 0 h 6858000"/>
                <a:gd name="connsiteX101" fmla="*/ 2135542 w 9767847"/>
                <a:gd name="connsiteY101" fmla="*/ 117781 h 6858000"/>
                <a:gd name="connsiteX102" fmla="*/ 1969576 w 9767847"/>
                <a:gd name="connsiteY102" fmla="*/ 254986 h 6858000"/>
                <a:gd name="connsiteX103" fmla="*/ 1659938 w 9767847"/>
                <a:gd name="connsiteY103" fmla="*/ 549855 h 6858000"/>
                <a:gd name="connsiteX104" fmla="*/ 729383 w 9767847"/>
                <a:gd name="connsiteY104" fmla="*/ 1936480 h 6858000"/>
                <a:gd name="connsiteX105" fmla="*/ 578465 w 9767847"/>
                <a:gd name="connsiteY105" fmla="*/ 2320807 h 6858000"/>
                <a:gd name="connsiteX106" fmla="*/ 465080 w 9767847"/>
                <a:gd name="connsiteY106" fmla="*/ 2714875 h 6858000"/>
                <a:gd name="connsiteX107" fmla="*/ 423820 w 9767847"/>
                <a:gd name="connsiteY107" fmla="*/ 2915436 h 6858000"/>
                <a:gd name="connsiteX108" fmla="*/ 392355 w 9767847"/>
                <a:gd name="connsiteY108" fmla="*/ 3118071 h 6858000"/>
                <a:gd name="connsiteX109" fmla="*/ 358801 w 9767847"/>
                <a:gd name="connsiteY109" fmla="*/ 3526915 h 6858000"/>
                <a:gd name="connsiteX110" fmla="*/ 410350 w 9767847"/>
                <a:gd name="connsiteY110" fmla="*/ 4348226 h 6858000"/>
                <a:gd name="connsiteX111" fmla="*/ 449022 w 9767847"/>
                <a:gd name="connsiteY111" fmla="*/ 4551049 h 6858000"/>
                <a:gd name="connsiteX112" fmla="*/ 498882 w 9767847"/>
                <a:gd name="connsiteY112" fmla="*/ 4752365 h 6858000"/>
                <a:gd name="connsiteX113" fmla="*/ 559775 w 9767847"/>
                <a:gd name="connsiteY113" fmla="*/ 4951657 h 6858000"/>
                <a:gd name="connsiteX114" fmla="*/ 631406 w 9767847"/>
                <a:gd name="connsiteY114" fmla="*/ 5147986 h 6858000"/>
                <a:gd name="connsiteX115" fmla="*/ 1023461 w 9767847"/>
                <a:gd name="connsiteY115" fmla="*/ 5893957 h 6858000"/>
                <a:gd name="connsiteX116" fmla="*/ 1575880 w 9767847"/>
                <a:gd name="connsiteY116" fmla="*/ 6547646 h 6858000"/>
                <a:gd name="connsiteX117" fmla="*/ 1905228 w 9767847"/>
                <a:gd name="connsiteY117" fmla="*/ 6829468 h 6858000"/>
                <a:gd name="connsiteX118" fmla="*/ 1944230 w 9767847"/>
                <a:gd name="connsiteY118" fmla="*/ 6858000 h 6858000"/>
                <a:gd name="connsiteX119" fmla="*/ 1372541 w 9767847"/>
                <a:gd name="connsiteY119" fmla="*/ 6858000 h 6858000"/>
                <a:gd name="connsiteX120" fmla="*/ 1115251 w 9767847"/>
                <a:gd name="connsiteY120" fmla="*/ 6590005 h 6858000"/>
                <a:gd name="connsiteX121" fmla="*/ 0 w 9767847"/>
                <a:gd name="connsiteY121" fmla="*/ 3649031 h 6858000"/>
                <a:gd name="connsiteX122" fmla="*/ 1777294 w 9767847"/>
                <a:gd name="connsiteY122" fmla="*/ 813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767847" h="6858000">
                  <a:moveTo>
                    <a:pt x="7151367" y="0"/>
                  </a:moveTo>
                  <a:lnTo>
                    <a:pt x="7881247" y="0"/>
                  </a:lnTo>
                  <a:lnTo>
                    <a:pt x="7990553" y="81317"/>
                  </a:lnTo>
                  <a:cubicBezTo>
                    <a:pt x="9075991" y="929334"/>
                    <a:pt x="9767847" y="2212695"/>
                    <a:pt x="9767847" y="3649031"/>
                  </a:cubicBezTo>
                  <a:cubicBezTo>
                    <a:pt x="9767847" y="4766182"/>
                    <a:pt x="9349317" y="5790792"/>
                    <a:pt x="8652597" y="6590005"/>
                  </a:cubicBezTo>
                  <a:lnTo>
                    <a:pt x="8395306" y="6858000"/>
                  </a:lnTo>
                  <a:lnTo>
                    <a:pt x="6762603" y="6858000"/>
                  </a:lnTo>
                  <a:lnTo>
                    <a:pt x="6765962" y="6854844"/>
                  </a:lnTo>
                  <a:cubicBezTo>
                    <a:pt x="6779036" y="6842703"/>
                    <a:pt x="6791663" y="6829621"/>
                    <a:pt x="6804586" y="6817103"/>
                  </a:cubicBezTo>
                  <a:lnTo>
                    <a:pt x="6881735" y="6741197"/>
                  </a:lnTo>
                  <a:cubicBezTo>
                    <a:pt x="6907435" y="6715881"/>
                    <a:pt x="6933134" y="6690798"/>
                    <a:pt x="6958883" y="6664822"/>
                  </a:cubicBezTo>
                  <a:lnTo>
                    <a:pt x="7267925" y="6355694"/>
                  </a:lnTo>
                  <a:lnTo>
                    <a:pt x="7424360" y="6200685"/>
                  </a:lnTo>
                  <a:cubicBezTo>
                    <a:pt x="7450754" y="6174802"/>
                    <a:pt x="7477598" y="6148731"/>
                    <a:pt x="7504938" y="6122708"/>
                  </a:cubicBezTo>
                  <a:lnTo>
                    <a:pt x="7546396" y="6083697"/>
                  </a:lnTo>
                  <a:cubicBezTo>
                    <a:pt x="7560264" y="6070803"/>
                    <a:pt x="7574780" y="6057532"/>
                    <a:pt x="7588002" y="6045532"/>
                  </a:cubicBezTo>
                  <a:lnTo>
                    <a:pt x="7631000" y="6006709"/>
                  </a:lnTo>
                  <a:lnTo>
                    <a:pt x="7675440" y="5968309"/>
                  </a:lnTo>
                  <a:cubicBezTo>
                    <a:pt x="7690404" y="5955698"/>
                    <a:pt x="7705564" y="5943321"/>
                    <a:pt x="7720626" y="5930851"/>
                  </a:cubicBezTo>
                  <a:cubicBezTo>
                    <a:pt x="7735738" y="5918427"/>
                    <a:pt x="7751197" y="5906521"/>
                    <a:pt x="7766458" y="5894334"/>
                  </a:cubicBezTo>
                  <a:cubicBezTo>
                    <a:pt x="7827949" y="5846192"/>
                    <a:pt x="7890979" y="5800499"/>
                    <a:pt x="7955254" y="5756828"/>
                  </a:cubicBezTo>
                  <a:cubicBezTo>
                    <a:pt x="8083800" y="5669534"/>
                    <a:pt x="8216872" y="5590336"/>
                    <a:pt x="8352678" y="5517630"/>
                  </a:cubicBezTo>
                  <a:lnTo>
                    <a:pt x="8451350" y="5465254"/>
                  </a:lnTo>
                  <a:lnTo>
                    <a:pt x="8548532" y="5413395"/>
                  </a:lnTo>
                  <a:cubicBezTo>
                    <a:pt x="8612110" y="5379090"/>
                    <a:pt x="8673251" y="5345208"/>
                    <a:pt x="8729473" y="5309961"/>
                  </a:cubicBezTo>
                  <a:cubicBezTo>
                    <a:pt x="8743591" y="5301115"/>
                    <a:pt x="8757161" y="5292361"/>
                    <a:pt x="8770781" y="5283232"/>
                  </a:cubicBezTo>
                  <a:cubicBezTo>
                    <a:pt x="8777591" y="5278667"/>
                    <a:pt x="8784451" y="5274103"/>
                    <a:pt x="8790964" y="5269492"/>
                  </a:cubicBezTo>
                  <a:cubicBezTo>
                    <a:pt x="8797574" y="5264879"/>
                    <a:pt x="8804235" y="5260314"/>
                    <a:pt x="8810499" y="5255703"/>
                  </a:cubicBezTo>
                  <a:cubicBezTo>
                    <a:pt x="8835999" y="5237303"/>
                    <a:pt x="8860407" y="5218291"/>
                    <a:pt x="8883571" y="5198479"/>
                  </a:cubicBezTo>
                  <a:cubicBezTo>
                    <a:pt x="8929900" y="5158856"/>
                    <a:pt x="8971258" y="5116315"/>
                    <a:pt x="9006651" y="5070527"/>
                  </a:cubicBezTo>
                  <a:cubicBezTo>
                    <a:pt x="9015351" y="5059328"/>
                    <a:pt x="9024398" y="5046857"/>
                    <a:pt x="9033494" y="5034105"/>
                  </a:cubicBezTo>
                  <a:lnTo>
                    <a:pt x="9040305" y="5024551"/>
                  </a:lnTo>
                  <a:lnTo>
                    <a:pt x="9046568" y="5015281"/>
                  </a:lnTo>
                  <a:cubicBezTo>
                    <a:pt x="9050743" y="5009163"/>
                    <a:pt x="9054819" y="5002952"/>
                    <a:pt x="9058846" y="4996645"/>
                  </a:cubicBezTo>
                  <a:cubicBezTo>
                    <a:pt x="9075002" y="4971517"/>
                    <a:pt x="9090212" y="4945305"/>
                    <a:pt x="9104529" y="4918105"/>
                  </a:cubicBezTo>
                  <a:cubicBezTo>
                    <a:pt x="9133211" y="4863752"/>
                    <a:pt x="9158313" y="4805447"/>
                    <a:pt x="9181081" y="4744694"/>
                  </a:cubicBezTo>
                  <a:cubicBezTo>
                    <a:pt x="9203748" y="4684178"/>
                    <a:pt x="9223383" y="4621778"/>
                    <a:pt x="9240731" y="4557872"/>
                  </a:cubicBezTo>
                  <a:cubicBezTo>
                    <a:pt x="9249481" y="4525966"/>
                    <a:pt x="9257682" y="4493684"/>
                    <a:pt x="9265388" y="4461073"/>
                  </a:cubicBezTo>
                  <a:cubicBezTo>
                    <a:pt x="9269215" y="4444744"/>
                    <a:pt x="9272943" y="4428367"/>
                    <a:pt x="9276571" y="4411943"/>
                  </a:cubicBezTo>
                  <a:lnTo>
                    <a:pt x="9281841" y="4387379"/>
                  </a:lnTo>
                  <a:lnTo>
                    <a:pt x="9286513" y="4364838"/>
                  </a:lnTo>
                  <a:lnTo>
                    <a:pt x="9296754" y="4312038"/>
                  </a:lnTo>
                  <a:lnTo>
                    <a:pt x="9301029" y="4289074"/>
                  </a:lnTo>
                  <a:lnTo>
                    <a:pt x="9302818" y="4278581"/>
                  </a:lnTo>
                  <a:lnTo>
                    <a:pt x="9304658" y="4266816"/>
                  </a:lnTo>
                  <a:lnTo>
                    <a:pt x="9312810" y="4215945"/>
                  </a:lnTo>
                  <a:lnTo>
                    <a:pt x="9316887" y="4190486"/>
                  </a:lnTo>
                  <a:lnTo>
                    <a:pt x="9318923" y="4177780"/>
                  </a:lnTo>
                  <a:cubicBezTo>
                    <a:pt x="9319570" y="4173546"/>
                    <a:pt x="9319969" y="4169169"/>
                    <a:pt x="9320515" y="4164886"/>
                  </a:cubicBezTo>
                  <a:lnTo>
                    <a:pt x="9332445" y="4064981"/>
                  </a:lnTo>
                  <a:cubicBezTo>
                    <a:pt x="9333836" y="4052370"/>
                    <a:pt x="9334880" y="4036888"/>
                    <a:pt x="9336173" y="4018676"/>
                  </a:cubicBezTo>
                  <a:lnTo>
                    <a:pt x="9340199" y="3965171"/>
                  </a:lnTo>
                  <a:cubicBezTo>
                    <a:pt x="9345071" y="3899806"/>
                    <a:pt x="9347358" y="3832983"/>
                    <a:pt x="9347557" y="3765972"/>
                  </a:cubicBezTo>
                  <a:cubicBezTo>
                    <a:pt x="9347656" y="3732420"/>
                    <a:pt x="9347209" y="3698773"/>
                    <a:pt x="9346364" y="3664938"/>
                  </a:cubicBezTo>
                  <a:lnTo>
                    <a:pt x="9344921" y="3615243"/>
                  </a:lnTo>
                  <a:lnTo>
                    <a:pt x="9344524" y="3603526"/>
                  </a:lnTo>
                  <a:lnTo>
                    <a:pt x="9343728" y="3590774"/>
                  </a:lnTo>
                  <a:lnTo>
                    <a:pt x="9342188" y="3565268"/>
                  </a:lnTo>
                  <a:lnTo>
                    <a:pt x="9339056" y="3514256"/>
                  </a:lnTo>
                  <a:cubicBezTo>
                    <a:pt x="9337914" y="3497221"/>
                    <a:pt x="9335874" y="3480138"/>
                    <a:pt x="9334334" y="3463057"/>
                  </a:cubicBezTo>
                  <a:lnTo>
                    <a:pt x="9329363" y="3411810"/>
                  </a:lnTo>
                  <a:lnTo>
                    <a:pt x="9328319" y="3400657"/>
                  </a:lnTo>
                  <a:lnTo>
                    <a:pt x="9327177" y="3390116"/>
                  </a:lnTo>
                  <a:lnTo>
                    <a:pt x="9324293" y="3366774"/>
                  </a:lnTo>
                  <a:lnTo>
                    <a:pt x="9320763" y="3340329"/>
                  </a:lnTo>
                  <a:lnTo>
                    <a:pt x="9317184" y="3311245"/>
                  </a:lnTo>
                  <a:cubicBezTo>
                    <a:pt x="9315594" y="3296893"/>
                    <a:pt x="9313506" y="3282306"/>
                    <a:pt x="9311021" y="3266211"/>
                  </a:cubicBezTo>
                  <a:lnTo>
                    <a:pt x="9302719" y="3215717"/>
                  </a:lnTo>
                  <a:cubicBezTo>
                    <a:pt x="9299936" y="3199059"/>
                    <a:pt x="9297003" y="3182400"/>
                    <a:pt x="9293970" y="3165789"/>
                  </a:cubicBezTo>
                  <a:cubicBezTo>
                    <a:pt x="9281891" y="3099295"/>
                    <a:pt x="9267674" y="3033084"/>
                    <a:pt x="9252065" y="2967107"/>
                  </a:cubicBezTo>
                  <a:cubicBezTo>
                    <a:pt x="9244261" y="2934167"/>
                    <a:pt x="9235959" y="2901273"/>
                    <a:pt x="9227211" y="2868473"/>
                  </a:cubicBezTo>
                  <a:lnTo>
                    <a:pt x="9220699" y="2844426"/>
                  </a:lnTo>
                  <a:lnTo>
                    <a:pt x="9213740" y="2820191"/>
                  </a:lnTo>
                  <a:cubicBezTo>
                    <a:pt x="9209216" y="2804049"/>
                    <a:pt x="9204345" y="2787768"/>
                    <a:pt x="9199374" y="2771438"/>
                  </a:cubicBezTo>
                  <a:cubicBezTo>
                    <a:pt x="9159855" y="2641086"/>
                    <a:pt x="9114272" y="2512099"/>
                    <a:pt x="9061829" y="2385418"/>
                  </a:cubicBezTo>
                  <a:cubicBezTo>
                    <a:pt x="9035582" y="2322077"/>
                    <a:pt x="9008043" y="2259160"/>
                    <a:pt x="8978865" y="2196855"/>
                  </a:cubicBezTo>
                  <a:lnTo>
                    <a:pt x="8956694" y="2150219"/>
                  </a:lnTo>
                  <a:lnTo>
                    <a:pt x="8934176" y="2103914"/>
                  </a:lnTo>
                  <a:cubicBezTo>
                    <a:pt x="8918915" y="2073091"/>
                    <a:pt x="8903157" y="2042032"/>
                    <a:pt x="8887151" y="2011350"/>
                  </a:cubicBezTo>
                  <a:cubicBezTo>
                    <a:pt x="8854988" y="1949891"/>
                    <a:pt x="8822082" y="1888810"/>
                    <a:pt x="8787533" y="1828527"/>
                  </a:cubicBezTo>
                  <a:lnTo>
                    <a:pt x="8761485" y="1783398"/>
                  </a:lnTo>
                  <a:lnTo>
                    <a:pt x="8734791" y="1737893"/>
                  </a:lnTo>
                  <a:cubicBezTo>
                    <a:pt x="8717047" y="1707823"/>
                    <a:pt x="8699200" y="1678363"/>
                    <a:pt x="8680808" y="1648812"/>
                  </a:cubicBezTo>
                  <a:cubicBezTo>
                    <a:pt x="8644322" y="1589658"/>
                    <a:pt x="8606194" y="1531118"/>
                    <a:pt x="8567024" y="1472906"/>
                  </a:cubicBezTo>
                  <a:lnTo>
                    <a:pt x="8537446" y="1429330"/>
                  </a:lnTo>
                  <a:lnTo>
                    <a:pt x="8507423" y="1385896"/>
                  </a:lnTo>
                  <a:cubicBezTo>
                    <a:pt x="8487390" y="1357284"/>
                    <a:pt x="8467158" y="1328719"/>
                    <a:pt x="8446529" y="1300295"/>
                  </a:cubicBezTo>
                  <a:cubicBezTo>
                    <a:pt x="8405271" y="1243496"/>
                    <a:pt x="8362718" y="1187120"/>
                    <a:pt x="8319224" y="1131026"/>
                  </a:cubicBezTo>
                  <a:lnTo>
                    <a:pt x="8286366" y="1089050"/>
                  </a:lnTo>
                  <a:lnTo>
                    <a:pt x="8270161" y="1068439"/>
                  </a:lnTo>
                  <a:lnTo>
                    <a:pt x="8253856" y="1048156"/>
                  </a:lnTo>
                  <a:cubicBezTo>
                    <a:pt x="8231636" y="1020675"/>
                    <a:pt x="8209117" y="993381"/>
                    <a:pt x="8186352" y="966275"/>
                  </a:cubicBezTo>
                  <a:cubicBezTo>
                    <a:pt x="8140917" y="911922"/>
                    <a:pt x="8094240" y="858417"/>
                    <a:pt x="8046768" y="805429"/>
                  </a:cubicBezTo>
                  <a:lnTo>
                    <a:pt x="8010927" y="765853"/>
                  </a:lnTo>
                  <a:lnTo>
                    <a:pt x="7974788" y="726653"/>
                  </a:lnTo>
                  <a:cubicBezTo>
                    <a:pt x="7950382" y="700489"/>
                    <a:pt x="7925824" y="674465"/>
                    <a:pt x="7901070" y="648724"/>
                  </a:cubicBezTo>
                  <a:cubicBezTo>
                    <a:pt x="7851510" y="597289"/>
                    <a:pt x="7801404" y="546514"/>
                    <a:pt x="7750054" y="497008"/>
                  </a:cubicBezTo>
                  <a:cubicBezTo>
                    <a:pt x="7698902" y="447644"/>
                    <a:pt x="7645913" y="398938"/>
                    <a:pt x="7592277" y="351221"/>
                  </a:cubicBezTo>
                  <a:cubicBezTo>
                    <a:pt x="7484856" y="255786"/>
                    <a:pt x="7373308" y="164304"/>
                    <a:pt x="7257734" y="76964"/>
                  </a:cubicBezTo>
                  <a:close/>
                  <a:moveTo>
                    <a:pt x="1886601" y="0"/>
                  </a:moveTo>
                  <a:lnTo>
                    <a:pt x="2292926" y="0"/>
                  </a:lnTo>
                  <a:lnTo>
                    <a:pt x="2135542" y="117781"/>
                  </a:lnTo>
                  <a:cubicBezTo>
                    <a:pt x="2078998" y="162280"/>
                    <a:pt x="2023659" y="208045"/>
                    <a:pt x="1969576" y="254986"/>
                  </a:cubicBezTo>
                  <a:cubicBezTo>
                    <a:pt x="1861309" y="348820"/>
                    <a:pt x="1758064" y="447314"/>
                    <a:pt x="1659938" y="549855"/>
                  </a:cubicBezTo>
                  <a:cubicBezTo>
                    <a:pt x="1266987" y="960346"/>
                    <a:pt x="953820" y="1431495"/>
                    <a:pt x="729383" y="1936480"/>
                  </a:cubicBezTo>
                  <a:cubicBezTo>
                    <a:pt x="673260" y="2062362"/>
                    <a:pt x="622855" y="2190972"/>
                    <a:pt x="578465" y="2320807"/>
                  </a:cubicBezTo>
                  <a:cubicBezTo>
                    <a:pt x="534125" y="2450687"/>
                    <a:pt x="496147" y="2582216"/>
                    <a:pt x="465080" y="2714875"/>
                  </a:cubicBezTo>
                  <a:cubicBezTo>
                    <a:pt x="449769" y="2780991"/>
                    <a:pt x="435850" y="2848191"/>
                    <a:pt x="423820" y="2915436"/>
                  </a:cubicBezTo>
                  <a:cubicBezTo>
                    <a:pt x="411840" y="2982731"/>
                    <a:pt x="401054" y="3050260"/>
                    <a:pt x="392355" y="3118071"/>
                  </a:cubicBezTo>
                  <a:cubicBezTo>
                    <a:pt x="374509" y="3253646"/>
                    <a:pt x="363424" y="3389880"/>
                    <a:pt x="358801" y="3526915"/>
                  </a:cubicBezTo>
                  <a:cubicBezTo>
                    <a:pt x="349009" y="3800843"/>
                    <a:pt x="366357" y="4075570"/>
                    <a:pt x="410350" y="4348226"/>
                  </a:cubicBezTo>
                  <a:cubicBezTo>
                    <a:pt x="421286" y="4416132"/>
                    <a:pt x="434209" y="4483660"/>
                    <a:pt x="449022" y="4551049"/>
                  </a:cubicBezTo>
                  <a:cubicBezTo>
                    <a:pt x="463737" y="4618436"/>
                    <a:pt x="480389" y="4685588"/>
                    <a:pt x="498882" y="4752365"/>
                  </a:cubicBezTo>
                  <a:cubicBezTo>
                    <a:pt x="517373" y="4819141"/>
                    <a:pt x="537704" y="4885635"/>
                    <a:pt x="559775" y="4951657"/>
                  </a:cubicBezTo>
                  <a:cubicBezTo>
                    <a:pt x="581946" y="5017775"/>
                    <a:pt x="605358" y="5083375"/>
                    <a:pt x="631406" y="5147986"/>
                  </a:cubicBezTo>
                  <a:cubicBezTo>
                    <a:pt x="734055" y="5407608"/>
                    <a:pt x="865188" y="5658570"/>
                    <a:pt x="1023461" y="5893957"/>
                  </a:cubicBezTo>
                  <a:cubicBezTo>
                    <a:pt x="1181487" y="6129578"/>
                    <a:pt x="1367051" y="6349247"/>
                    <a:pt x="1575880" y="6547646"/>
                  </a:cubicBezTo>
                  <a:cubicBezTo>
                    <a:pt x="1680269" y="6646916"/>
                    <a:pt x="1790338" y="6740939"/>
                    <a:pt x="1905228" y="6829468"/>
                  </a:cubicBezTo>
                  <a:lnTo>
                    <a:pt x="1944230" y="6858000"/>
                  </a:lnTo>
                  <a:lnTo>
                    <a:pt x="1372541" y="6858000"/>
                  </a:lnTo>
                  <a:lnTo>
                    <a:pt x="1115251" y="6590005"/>
                  </a:lnTo>
                  <a:cubicBezTo>
                    <a:pt x="418530" y="5790792"/>
                    <a:pt x="0" y="4766182"/>
                    <a:pt x="0" y="3649031"/>
                  </a:cubicBezTo>
                  <a:cubicBezTo>
                    <a:pt x="0" y="2212695"/>
                    <a:pt x="691856" y="929334"/>
                    <a:pt x="1777294" y="81317"/>
                  </a:cubicBezTo>
                  <a:close/>
                </a:path>
              </a:pathLst>
            </a:custGeom>
            <a:gradFill>
              <a:gsLst>
                <a:gs pos="813">
                  <a:schemeClr val="bg1">
                    <a:alpha val="41000"/>
                  </a:schemeClr>
                </a:gs>
                <a:gs pos="20000">
                  <a:schemeClr val="accent5">
                    <a:lumMod val="85000"/>
                    <a:alpha val="56000"/>
                  </a:schemeClr>
                </a:gs>
                <a:gs pos="44000">
                  <a:schemeClr val="accent6">
                    <a:lumMod val="40000"/>
                    <a:lumOff val="60000"/>
                    <a:alpha val="57000"/>
                  </a:schemeClr>
                </a:gs>
                <a:gs pos="100000">
                  <a:schemeClr val="bg1">
                    <a:alpha val="59000"/>
                  </a:schemeClr>
                </a:gs>
                <a:gs pos="74000">
                  <a:schemeClr val="accent1">
                    <a:lumMod val="91000"/>
                    <a:lumOff val="9000"/>
                    <a:alpha val="34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20">
              <a:extLst>
                <a:ext uri="{FF2B5EF4-FFF2-40B4-BE49-F238E27FC236}">
                  <a16:creationId xmlns:a16="http://schemas.microsoft.com/office/drawing/2014/main" id="{85EAD889-EA4D-485F-BA9C-F6473A4329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3402" y="36937"/>
              <a:ext cx="9767847" cy="6858000"/>
            </a:xfrm>
            <a:custGeom>
              <a:avLst/>
              <a:gdLst>
                <a:gd name="connsiteX0" fmla="*/ 7145704 w 9767847"/>
                <a:gd name="connsiteY0" fmla="*/ 0 h 6858000"/>
                <a:gd name="connsiteX1" fmla="*/ 7875738 w 9767847"/>
                <a:gd name="connsiteY1" fmla="*/ 0 h 6858000"/>
                <a:gd name="connsiteX2" fmla="*/ 7990553 w 9767847"/>
                <a:gd name="connsiteY2" fmla="*/ 85415 h 6858000"/>
                <a:gd name="connsiteX3" fmla="*/ 9767847 w 9767847"/>
                <a:gd name="connsiteY3" fmla="*/ 3653129 h 6858000"/>
                <a:gd name="connsiteX4" fmla="*/ 8652597 w 9767847"/>
                <a:gd name="connsiteY4" fmla="*/ 6594103 h 6858000"/>
                <a:gd name="connsiteX5" fmla="*/ 8399240 w 9767847"/>
                <a:gd name="connsiteY5" fmla="*/ 6858000 h 6858000"/>
                <a:gd name="connsiteX6" fmla="*/ 6766926 w 9767847"/>
                <a:gd name="connsiteY6" fmla="*/ 6858000 h 6858000"/>
                <a:gd name="connsiteX7" fmla="*/ 6804586 w 9767847"/>
                <a:gd name="connsiteY7" fmla="*/ 6821201 h 6858000"/>
                <a:gd name="connsiteX8" fmla="*/ 6881735 w 9767847"/>
                <a:gd name="connsiteY8" fmla="*/ 6745295 h 6858000"/>
                <a:gd name="connsiteX9" fmla="*/ 6958883 w 9767847"/>
                <a:gd name="connsiteY9" fmla="*/ 6668920 h 6858000"/>
                <a:gd name="connsiteX10" fmla="*/ 7267925 w 9767847"/>
                <a:gd name="connsiteY10" fmla="*/ 6359792 h 6858000"/>
                <a:gd name="connsiteX11" fmla="*/ 7424360 w 9767847"/>
                <a:gd name="connsiteY11" fmla="*/ 6204783 h 6858000"/>
                <a:gd name="connsiteX12" fmla="*/ 7504938 w 9767847"/>
                <a:gd name="connsiteY12" fmla="*/ 6126806 h 6858000"/>
                <a:gd name="connsiteX13" fmla="*/ 7546396 w 9767847"/>
                <a:gd name="connsiteY13" fmla="*/ 6087795 h 6858000"/>
                <a:gd name="connsiteX14" fmla="*/ 7588002 w 9767847"/>
                <a:gd name="connsiteY14" fmla="*/ 6049630 h 6858000"/>
                <a:gd name="connsiteX15" fmla="*/ 7631000 w 9767847"/>
                <a:gd name="connsiteY15" fmla="*/ 6010807 h 6858000"/>
                <a:gd name="connsiteX16" fmla="*/ 7675440 w 9767847"/>
                <a:gd name="connsiteY16" fmla="*/ 5972407 h 6858000"/>
                <a:gd name="connsiteX17" fmla="*/ 7720626 w 9767847"/>
                <a:gd name="connsiteY17" fmla="*/ 5934949 h 6858000"/>
                <a:gd name="connsiteX18" fmla="*/ 7766458 w 9767847"/>
                <a:gd name="connsiteY18" fmla="*/ 5898432 h 6858000"/>
                <a:gd name="connsiteX19" fmla="*/ 7955254 w 9767847"/>
                <a:gd name="connsiteY19" fmla="*/ 5760926 h 6858000"/>
                <a:gd name="connsiteX20" fmla="*/ 8352678 w 9767847"/>
                <a:gd name="connsiteY20" fmla="*/ 5521728 h 6858000"/>
                <a:gd name="connsiteX21" fmla="*/ 8451350 w 9767847"/>
                <a:gd name="connsiteY21" fmla="*/ 5469352 h 6858000"/>
                <a:gd name="connsiteX22" fmla="*/ 8548532 w 9767847"/>
                <a:gd name="connsiteY22" fmla="*/ 5417493 h 6858000"/>
                <a:gd name="connsiteX23" fmla="*/ 8729473 w 9767847"/>
                <a:gd name="connsiteY23" fmla="*/ 5314059 h 6858000"/>
                <a:gd name="connsiteX24" fmla="*/ 8770781 w 9767847"/>
                <a:gd name="connsiteY24" fmla="*/ 5287330 h 6858000"/>
                <a:gd name="connsiteX25" fmla="*/ 8790964 w 9767847"/>
                <a:gd name="connsiteY25" fmla="*/ 5273590 h 6858000"/>
                <a:gd name="connsiteX26" fmla="*/ 8810499 w 9767847"/>
                <a:gd name="connsiteY26" fmla="*/ 5259801 h 6858000"/>
                <a:gd name="connsiteX27" fmla="*/ 8883571 w 9767847"/>
                <a:gd name="connsiteY27" fmla="*/ 5202577 h 6858000"/>
                <a:gd name="connsiteX28" fmla="*/ 9006651 w 9767847"/>
                <a:gd name="connsiteY28" fmla="*/ 5074625 h 6858000"/>
                <a:gd name="connsiteX29" fmla="*/ 9033494 w 9767847"/>
                <a:gd name="connsiteY29" fmla="*/ 5038203 h 6858000"/>
                <a:gd name="connsiteX30" fmla="*/ 9040305 w 9767847"/>
                <a:gd name="connsiteY30" fmla="*/ 5028649 h 6858000"/>
                <a:gd name="connsiteX31" fmla="*/ 9046568 w 9767847"/>
                <a:gd name="connsiteY31" fmla="*/ 5019379 h 6858000"/>
                <a:gd name="connsiteX32" fmla="*/ 9058846 w 9767847"/>
                <a:gd name="connsiteY32" fmla="*/ 5000743 h 6858000"/>
                <a:gd name="connsiteX33" fmla="*/ 9104529 w 9767847"/>
                <a:gd name="connsiteY33" fmla="*/ 4922203 h 6858000"/>
                <a:gd name="connsiteX34" fmla="*/ 9181081 w 9767847"/>
                <a:gd name="connsiteY34" fmla="*/ 4748792 h 6858000"/>
                <a:gd name="connsiteX35" fmla="*/ 9240731 w 9767847"/>
                <a:gd name="connsiteY35" fmla="*/ 4561970 h 6858000"/>
                <a:gd name="connsiteX36" fmla="*/ 9265388 w 9767847"/>
                <a:gd name="connsiteY36" fmla="*/ 4465171 h 6858000"/>
                <a:gd name="connsiteX37" fmla="*/ 9276571 w 9767847"/>
                <a:gd name="connsiteY37" fmla="*/ 4416041 h 6858000"/>
                <a:gd name="connsiteX38" fmla="*/ 9281841 w 9767847"/>
                <a:gd name="connsiteY38" fmla="*/ 4391477 h 6858000"/>
                <a:gd name="connsiteX39" fmla="*/ 9286513 w 9767847"/>
                <a:gd name="connsiteY39" fmla="*/ 4368936 h 6858000"/>
                <a:gd name="connsiteX40" fmla="*/ 9296754 w 9767847"/>
                <a:gd name="connsiteY40" fmla="*/ 4316136 h 6858000"/>
                <a:gd name="connsiteX41" fmla="*/ 9301029 w 9767847"/>
                <a:gd name="connsiteY41" fmla="*/ 4293172 h 6858000"/>
                <a:gd name="connsiteX42" fmla="*/ 9302818 w 9767847"/>
                <a:gd name="connsiteY42" fmla="*/ 4282679 h 6858000"/>
                <a:gd name="connsiteX43" fmla="*/ 9304658 w 9767847"/>
                <a:gd name="connsiteY43" fmla="*/ 4270914 h 6858000"/>
                <a:gd name="connsiteX44" fmla="*/ 9312810 w 9767847"/>
                <a:gd name="connsiteY44" fmla="*/ 4220043 h 6858000"/>
                <a:gd name="connsiteX45" fmla="*/ 9316887 w 9767847"/>
                <a:gd name="connsiteY45" fmla="*/ 4194584 h 6858000"/>
                <a:gd name="connsiteX46" fmla="*/ 9318923 w 9767847"/>
                <a:gd name="connsiteY46" fmla="*/ 4181878 h 6858000"/>
                <a:gd name="connsiteX47" fmla="*/ 9320515 w 9767847"/>
                <a:gd name="connsiteY47" fmla="*/ 4168984 h 6858000"/>
                <a:gd name="connsiteX48" fmla="*/ 9332445 w 9767847"/>
                <a:gd name="connsiteY48" fmla="*/ 4069079 h 6858000"/>
                <a:gd name="connsiteX49" fmla="*/ 9336173 w 9767847"/>
                <a:gd name="connsiteY49" fmla="*/ 4022774 h 6858000"/>
                <a:gd name="connsiteX50" fmla="*/ 9340199 w 9767847"/>
                <a:gd name="connsiteY50" fmla="*/ 3969269 h 6858000"/>
                <a:gd name="connsiteX51" fmla="*/ 9347557 w 9767847"/>
                <a:gd name="connsiteY51" fmla="*/ 3770070 h 6858000"/>
                <a:gd name="connsiteX52" fmla="*/ 9346364 w 9767847"/>
                <a:gd name="connsiteY52" fmla="*/ 3669036 h 6858000"/>
                <a:gd name="connsiteX53" fmla="*/ 9344921 w 9767847"/>
                <a:gd name="connsiteY53" fmla="*/ 3619341 h 6858000"/>
                <a:gd name="connsiteX54" fmla="*/ 9344524 w 9767847"/>
                <a:gd name="connsiteY54" fmla="*/ 3607624 h 6858000"/>
                <a:gd name="connsiteX55" fmla="*/ 9343728 w 9767847"/>
                <a:gd name="connsiteY55" fmla="*/ 3594872 h 6858000"/>
                <a:gd name="connsiteX56" fmla="*/ 9342188 w 9767847"/>
                <a:gd name="connsiteY56" fmla="*/ 3569366 h 6858000"/>
                <a:gd name="connsiteX57" fmla="*/ 9339056 w 9767847"/>
                <a:gd name="connsiteY57" fmla="*/ 3518354 h 6858000"/>
                <a:gd name="connsiteX58" fmla="*/ 9334334 w 9767847"/>
                <a:gd name="connsiteY58" fmla="*/ 3467155 h 6858000"/>
                <a:gd name="connsiteX59" fmla="*/ 9329363 w 9767847"/>
                <a:gd name="connsiteY59" fmla="*/ 3415908 h 6858000"/>
                <a:gd name="connsiteX60" fmla="*/ 9328319 w 9767847"/>
                <a:gd name="connsiteY60" fmla="*/ 3404755 h 6858000"/>
                <a:gd name="connsiteX61" fmla="*/ 9327177 w 9767847"/>
                <a:gd name="connsiteY61" fmla="*/ 3394214 h 6858000"/>
                <a:gd name="connsiteX62" fmla="*/ 9324293 w 9767847"/>
                <a:gd name="connsiteY62" fmla="*/ 3370872 h 6858000"/>
                <a:gd name="connsiteX63" fmla="*/ 9320763 w 9767847"/>
                <a:gd name="connsiteY63" fmla="*/ 3344427 h 6858000"/>
                <a:gd name="connsiteX64" fmla="*/ 9317184 w 9767847"/>
                <a:gd name="connsiteY64" fmla="*/ 3315343 h 6858000"/>
                <a:gd name="connsiteX65" fmla="*/ 9311021 w 9767847"/>
                <a:gd name="connsiteY65" fmla="*/ 3270309 h 6858000"/>
                <a:gd name="connsiteX66" fmla="*/ 9302719 w 9767847"/>
                <a:gd name="connsiteY66" fmla="*/ 3219815 h 6858000"/>
                <a:gd name="connsiteX67" fmla="*/ 9293970 w 9767847"/>
                <a:gd name="connsiteY67" fmla="*/ 3169887 h 6858000"/>
                <a:gd name="connsiteX68" fmla="*/ 9252065 w 9767847"/>
                <a:gd name="connsiteY68" fmla="*/ 2971205 h 6858000"/>
                <a:gd name="connsiteX69" fmla="*/ 9227211 w 9767847"/>
                <a:gd name="connsiteY69" fmla="*/ 2872571 h 6858000"/>
                <a:gd name="connsiteX70" fmla="*/ 9220699 w 9767847"/>
                <a:gd name="connsiteY70" fmla="*/ 2848524 h 6858000"/>
                <a:gd name="connsiteX71" fmla="*/ 9213740 w 9767847"/>
                <a:gd name="connsiteY71" fmla="*/ 2824289 h 6858000"/>
                <a:gd name="connsiteX72" fmla="*/ 9199374 w 9767847"/>
                <a:gd name="connsiteY72" fmla="*/ 2775536 h 6858000"/>
                <a:gd name="connsiteX73" fmla="*/ 9061829 w 9767847"/>
                <a:gd name="connsiteY73" fmla="*/ 2389515 h 6858000"/>
                <a:gd name="connsiteX74" fmla="*/ 8978865 w 9767847"/>
                <a:gd name="connsiteY74" fmla="*/ 2200953 h 6858000"/>
                <a:gd name="connsiteX75" fmla="*/ 8956694 w 9767847"/>
                <a:gd name="connsiteY75" fmla="*/ 2154317 h 6858000"/>
                <a:gd name="connsiteX76" fmla="*/ 8934176 w 9767847"/>
                <a:gd name="connsiteY76" fmla="*/ 2108012 h 6858000"/>
                <a:gd name="connsiteX77" fmla="*/ 8887151 w 9767847"/>
                <a:gd name="connsiteY77" fmla="*/ 2015448 h 6858000"/>
                <a:gd name="connsiteX78" fmla="*/ 8787533 w 9767847"/>
                <a:gd name="connsiteY78" fmla="*/ 1832625 h 6858000"/>
                <a:gd name="connsiteX79" fmla="*/ 8761485 w 9767847"/>
                <a:gd name="connsiteY79" fmla="*/ 1787496 h 6858000"/>
                <a:gd name="connsiteX80" fmla="*/ 8734791 w 9767847"/>
                <a:gd name="connsiteY80" fmla="*/ 1741991 h 6858000"/>
                <a:gd name="connsiteX81" fmla="*/ 8680808 w 9767847"/>
                <a:gd name="connsiteY81" fmla="*/ 1652910 h 6858000"/>
                <a:gd name="connsiteX82" fmla="*/ 8567024 w 9767847"/>
                <a:gd name="connsiteY82" fmla="*/ 1477004 h 6858000"/>
                <a:gd name="connsiteX83" fmla="*/ 8537446 w 9767847"/>
                <a:gd name="connsiteY83" fmla="*/ 1433428 h 6858000"/>
                <a:gd name="connsiteX84" fmla="*/ 8507423 w 9767847"/>
                <a:gd name="connsiteY84" fmla="*/ 1389994 h 6858000"/>
                <a:gd name="connsiteX85" fmla="*/ 8446529 w 9767847"/>
                <a:gd name="connsiteY85" fmla="*/ 1304393 h 6858000"/>
                <a:gd name="connsiteX86" fmla="*/ 8319224 w 9767847"/>
                <a:gd name="connsiteY86" fmla="*/ 1135124 h 6858000"/>
                <a:gd name="connsiteX87" fmla="*/ 8286366 w 9767847"/>
                <a:gd name="connsiteY87" fmla="*/ 1093148 h 6858000"/>
                <a:gd name="connsiteX88" fmla="*/ 8270161 w 9767847"/>
                <a:gd name="connsiteY88" fmla="*/ 1072538 h 6858000"/>
                <a:gd name="connsiteX89" fmla="*/ 8253856 w 9767847"/>
                <a:gd name="connsiteY89" fmla="*/ 1052254 h 6858000"/>
                <a:gd name="connsiteX90" fmla="*/ 8186352 w 9767847"/>
                <a:gd name="connsiteY90" fmla="*/ 970373 h 6858000"/>
                <a:gd name="connsiteX91" fmla="*/ 8046768 w 9767847"/>
                <a:gd name="connsiteY91" fmla="*/ 809527 h 6858000"/>
                <a:gd name="connsiteX92" fmla="*/ 8010927 w 9767847"/>
                <a:gd name="connsiteY92" fmla="*/ 769951 h 6858000"/>
                <a:gd name="connsiteX93" fmla="*/ 7974788 w 9767847"/>
                <a:gd name="connsiteY93" fmla="*/ 730751 h 6858000"/>
                <a:gd name="connsiteX94" fmla="*/ 7901070 w 9767847"/>
                <a:gd name="connsiteY94" fmla="*/ 652823 h 6858000"/>
                <a:gd name="connsiteX95" fmla="*/ 7750054 w 9767847"/>
                <a:gd name="connsiteY95" fmla="*/ 501106 h 6858000"/>
                <a:gd name="connsiteX96" fmla="*/ 7592277 w 9767847"/>
                <a:gd name="connsiteY96" fmla="*/ 355319 h 6858000"/>
                <a:gd name="connsiteX97" fmla="*/ 7257734 w 9767847"/>
                <a:gd name="connsiteY97" fmla="*/ 81062 h 6858000"/>
                <a:gd name="connsiteX98" fmla="*/ 1892109 w 9767847"/>
                <a:gd name="connsiteY98" fmla="*/ 0 h 6858000"/>
                <a:gd name="connsiteX99" fmla="*/ 2298402 w 9767847"/>
                <a:gd name="connsiteY99" fmla="*/ 0 h 6858000"/>
                <a:gd name="connsiteX100" fmla="*/ 2135542 w 9767847"/>
                <a:gd name="connsiteY100" fmla="*/ 121879 h 6858000"/>
                <a:gd name="connsiteX101" fmla="*/ 1969576 w 9767847"/>
                <a:gd name="connsiteY101" fmla="*/ 259084 h 6858000"/>
                <a:gd name="connsiteX102" fmla="*/ 1659938 w 9767847"/>
                <a:gd name="connsiteY102" fmla="*/ 553953 h 6858000"/>
                <a:gd name="connsiteX103" fmla="*/ 729383 w 9767847"/>
                <a:gd name="connsiteY103" fmla="*/ 1940578 h 6858000"/>
                <a:gd name="connsiteX104" fmla="*/ 578465 w 9767847"/>
                <a:gd name="connsiteY104" fmla="*/ 2324905 h 6858000"/>
                <a:gd name="connsiteX105" fmla="*/ 465080 w 9767847"/>
                <a:gd name="connsiteY105" fmla="*/ 2718973 h 6858000"/>
                <a:gd name="connsiteX106" fmla="*/ 423820 w 9767847"/>
                <a:gd name="connsiteY106" fmla="*/ 2919535 h 6858000"/>
                <a:gd name="connsiteX107" fmla="*/ 392355 w 9767847"/>
                <a:gd name="connsiteY107" fmla="*/ 3122169 h 6858000"/>
                <a:gd name="connsiteX108" fmla="*/ 358801 w 9767847"/>
                <a:gd name="connsiteY108" fmla="*/ 3531013 h 6858000"/>
                <a:gd name="connsiteX109" fmla="*/ 410350 w 9767847"/>
                <a:gd name="connsiteY109" fmla="*/ 4352324 h 6858000"/>
                <a:gd name="connsiteX110" fmla="*/ 449022 w 9767847"/>
                <a:gd name="connsiteY110" fmla="*/ 4555147 h 6858000"/>
                <a:gd name="connsiteX111" fmla="*/ 498882 w 9767847"/>
                <a:gd name="connsiteY111" fmla="*/ 4756463 h 6858000"/>
                <a:gd name="connsiteX112" fmla="*/ 559775 w 9767847"/>
                <a:gd name="connsiteY112" fmla="*/ 4955755 h 6858000"/>
                <a:gd name="connsiteX113" fmla="*/ 631406 w 9767847"/>
                <a:gd name="connsiteY113" fmla="*/ 5152084 h 6858000"/>
                <a:gd name="connsiteX114" fmla="*/ 1023461 w 9767847"/>
                <a:gd name="connsiteY114" fmla="*/ 5898055 h 6858000"/>
                <a:gd name="connsiteX115" fmla="*/ 1575880 w 9767847"/>
                <a:gd name="connsiteY115" fmla="*/ 6551744 h 6858000"/>
                <a:gd name="connsiteX116" fmla="*/ 1905228 w 9767847"/>
                <a:gd name="connsiteY116" fmla="*/ 6833566 h 6858000"/>
                <a:gd name="connsiteX117" fmla="*/ 1938629 w 9767847"/>
                <a:gd name="connsiteY117" fmla="*/ 6858000 h 6858000"/>
                <a:gd name="connsiteX118" fmla="*/ 1368607 w 9767847"/>
                <a:gd name="connsiteY118" fmla="*/ 6858000 h 6858000"/>
                <a:gd name="connsiteX119" fmla="*/ 1115251 w 9767847"/>
                <a:gd name="connsiteY119" fmla="*/ 6594103 h 6858000"/>
                <a:gd name="connsiteX120" fmla="*/ 0 w 9767847"/>
                <a:gd name="connsiteY120" fmla="*/ 3653129 h 6858000"/>
                <a:gd name="connsiteX121" fmla="*/ 1777294 w 9767847"/>
                <a:gd name="connsiteY121" fmla="*/ 854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767847" h="6858000">
                  <a:moveTo>
                    <a:pt x="7145704" y="0"/>
                  </a:moveTo>
                  <a:lnTo>
                    <a:pt x="7875738" y="0"/>
                  </a:lnTo>
                  <a:lnTo>
                    <a:pt x="7990553" y="85415"/>
                  </a:lnTo>
                  <a:cubicBezTo>
                    <a:pt x="9075991" y="933432"/>
                    <a:pt x="9767847" y="2216793"/>
                    <a:pt x="9767847" y="3653129"/>
                  </a:cubicBezTo>
                  <a:cubicBezTo>
                    <a:pt x="9767847" y="4770280"/>
                    <a:pt x="9349317" y="5794890"/>
                    <a:pt x="8652597" y="6594103"/>
                  </a:cubicBezTo>
                  <a:lnTo>
                    <a:pt x="8399240" y="6858000"/>
                  </a:lnTo>
                  <a:lnTo>
                    <a:pt x="6766926" y="6858000"/>
                  </a:lnTo>
                  <a:lnTo>
                    <a:pt x="6804586" y="6821201"/>
                  </a:lnTo>
                  <a:lnTo>
                    <a:pt x="6881735" y="6745295"/>
                  </a:lnTo>
                  <a:cubicBezTo>
                    <a:pt x="6907435" y="6719979"/>
                    <a:pt x="6933134" y="6694896"/>
                    <a:pt x="6958883" y="6668920"/>
                  </a:cubicBezTo>
                  <a:lnTo>
                    <a:pt x="7267925" y="6359792"/>
                  </a:lnTo>
                  <a:lnTo>
                    <a:pt x="7424360" y="6204783"/>
                  </a:lnTo>
                  <a:cubicBezTo>
                    <a:pt x="7450754" y="6178900"/>
                    <a:pt x="7477598" y="6152829"/>
                    <a:pt x="7504938" y="6126806"/>
                  </a:cubicBezTo>
                  <a:lnTo>
                    <a:pt x="7546396" y="6087795"/>
                  </a:lnTo>
                  <a:cubicBezTo>
                    <a:pt x="7560264" y="6074901"/>
                    <a:pt x="7574780" y="6061630"/>
                    <a:pt x="7588002" y="6049630"/>
                  </a:cubicBezTo>
                  <a:lnTo>
                    <a:pt x="7631000" y="6010807"/>
                  </a:lnTo>
                  <a:lnTo>
                    <a:pt x="7675440" y="5972407"/>
                  </a:lnTo>
                  <a:cubicBezTo>
                    <a:pt x="7690404" y="5959796"/>
                    <a:pt x="7705564" y="5947419"/>
                    <a:pt x="7720626" y="5934949"/>
                  </a:cubicBezTo>
                  <a:cubicBezTo>
                    <a:pt x="7735738" y="5922525"/>
                    <a:pt x="7751197" y="5910619"/>
                    <a:pt x="7766458" y="5898432"/>
                  </a:cubicBezTo>
                  <a:cubicBezTo>
                    <a:pt x="7827949" y="5850290"/>
                    <a:pt x="7890979" y="5804597"/>
                    <a:pt x="7955254" y="5760926"/>
                  </a:cubicBezTo>
                  <a:cubicBezTo>
                    <a:pt x="8083800" y="5673632"/>
                    <a:pt x="8216872" y="5594434"/>
                    <a:pt x="8352678" y="5521728"/>
                  </a:cubicBezTo>
                  <a:lnTo>
                    <a:pt x="8451350" y="5469352"/>
                  </a:lnTo>
                  <a:lnTo>
                    <a:pt x="8548532" y="5417493"/>
                  </a:lnTo>
                  <a:cubicBezTo>
                    <a:pt x="8612110" y="5383188"/>
                    <a:pt x="8673251" y="5349306"/>
                    <a:pt x="8729473" y="5314059"/>
                  </a:cubicBezTo>
                  <a:cubicBezTo>
                    <a:pt x="8743591" y="5305213"/>
                    <a:pt x="8757161" y="5296459"/>
                    <a:pt x="8770781" y="5287330"/>
                  </a:cubicBezTo>
                  <a:cubicBezTo>
                    <a:pt x="8777591" y="5282765"/>
                    <a:pt x="8784451" y="5278201"/>
                    <a:pt x="8790964" y="5273590"/>
                  </a:cubicBezTo>
                  <a:cubicBezTo>
                    <a:pt x="8797574" y="5268977"/>
                    <a:pt x="8804235" y="5264412"/>
                    <a:pt x="8810499" y="5259801"/>
                  </a:cubicBezTo>
                  <a:cubicBezTo>
                    <a:pt x="8835999" y="5241401"/>
                    <a:pt x="8860407" y="5222389"/>
                    <a:pt x="8883571" y="5202577"/>
                  </a:cubicBezTo>
                  <a:cubicBezTo>
                    <a:pt x="8929900" y="5162954"/>
                    <a:pt x="8971258" y="5120413"/>
                    <a:pt x="9006651" y="5074625"/>
                  </a:cubicBezTo>
                  <a:cubicBezTo>
                    <a:pt x="9015351" y="5063426"/>
                    <a:pt x="9024398" y="5050955"/>
                    <a:pt x="9033494" y="5038203"/>
                  </a:cubicBezTo>
                  <a:lnTo>
                    <a:pt x="9040305" y="5028649"/>
                  </a:lnTo>
                  <a:lnTo>
                    <a:pt x="9046568" y="5019379"/>
                  </a:lnTo>
                  <a:cubicBezTo>
                    <a:pt x="9050743" y="5013261"/>
                    <a:pt x="9054819" y="5007050"/>
                    <a:pt x="9058846" y="5000743"/>
                  </a:cubicBezTo>
                  <a:cubicBezTo>
                    <a:pt x="9075002" y="4975615"/>
                    <a:pt x="9090212" y="4949403"/>
                    <a:pt x="9104529" y="4922203"/>
                  </a:cubicBezTo>
                  <a:cubicBezTo>
                    <a:pt x="9133211" y="4867850"/>
                    <a:pt x="9158313" y="4809545"/>
                    <a:pt x="9181081" y="4748792"/>
                  </a:cubicBezTo>
                  <a:cubicBezTo>
                    <a:pt x="9203748" y="4688276"/>
                    <a:pt x="9223383" y="4625876"/>
                    <a:pt x="9240731" y="4561970"/>
                  </a:cubicBezTo>
                  <a:cubicBezTo>
                    <a:pt x="9249481" y="4530064"/>
                    <a:pt x="9257682" y="4497782"/>
                    <a:pt x="9265388" y="4465171"/>
                  </a:cubicBezTo>
                  <a:cubicBezTo>
                    <a:pt x="9269215" y="4448842"/>
                    <a:pt x="9272943" y="4432465"/>
                    <a:pt x="9276571" y="4416041"/>
                  </a:cubicBezTo>
                  <a:lnTo>
                    <a:pt x="9281841" y="4391477"/>
                  </a:lnTo>
                  <a:lnTo>
                    <a:pt x="9286513" y="4368936"/>
                  </a:lnTo>
                  <a:lnTo>
                    <a:pt x="9296754" y="4316136"/>
                  </a:lnTo>
                  <a:lnTo>
                    <a:pt x="9301029" y="4293172"/>
                  </a:lnTo>
                  <a:lnTo>
                    <a:pt x="9302818" y="4282679"/>
                  </a:lnTo>
                  <a:lnTo>
                    <a:pt x="9304658" y="4270914"/>
                  </a:lnTo>
                  <a:lnTo>
                    <a:pt x="9312810" y="4220043"/>
                  </a:lnTo>
                  <a:lnTo>
                    <a:pt x="9316887" y="4194584"/>
                  </a:lnTo>
                  <a:lnTo>
                    <a:pt x="9318923" y="4181878"/>
                  </a:lnTo>
                  <a:cubicBezTo>
                    <a:pt x="9319570" y="4177644"/>
                    <a:pt x="9319969" y="4173267"/>
                    <a:pt x="9320515" y="4168984"/>
                  </a:cubicBezTo>
                  <a:lnTo>
                    <a:pt x="9332445" y="4069079"/>
                  </a:lnTo>
                  <a:cubicBezTo>
                    <a:pt x="9333836" y="4056468"/>
                    <a:pt x="9334880" y="4040986"/>
                    <a:pt x="9336173" y="4022774"/>
                  </a:cubicBezTo>
                  <a:lnTo>
                    <a:pt x="9340199" y="3969269"/>
                  </a:lnTo>
                  <a:cubicBezTo>
                    <a:pt x="9345071" y="3903904"/>
                    <a:pt x="9347358" y="3837081"/>
                    <a:pt x="9347557" y="3770070"/>
                  </a:cubicBezTo>
                  <a:cubicBezTo>
                    <a:pt x="9347656" y="3736518"/>
                    <a:pt x="9347209" y="3702871"/>
                    <a:pt x="9346364" y="3669036"/>
                  </a:cubicBezTo>
                  <a:lnTo>
                    <a:pt x="9344921" y="3619341"/>
                  </a:lnTo>
                  <a:lnTo>
                    <a:pt x="9344524" y="3607624"/>
                  </a:lnTo>
                  <a:lnTo>
                    <a:pt x="9343728" y="3594872"/>
                  </a:lnTo>
                  <a:lnTo>
                    <a:pt x="9342188" y="3569366"/>
                  </a:lnTo>
                  <a:lnTo>
                    <a:pt x="9339056" y="3518354"/>
                  </a:lnTo>
                  <a:cubicBezTo>
                    <a:pt x="9337914" y="3501319"/>
                    <a:pt x="9335874" y="3484236"/>
                    <a:pt x="9334334" y="3467155"/>
                  </a:cubicBezTo>
                  <a:lnTo>
                    <a:pt x="9329363" y="3415908"/>
                  </a:lnTo>
                  <a:lnTo>
                    <a:pt x="9328319" y="3404755"/>
                  </a:lnTo>
                  <a:lnTo>
                    <a:pt x="9327177" y="3394214"/>
                  </a:lnTo>
                  <a:lnTo>
                    <a:pt x="9324293" y="3370872"/>
                  </a:lnTo>
                  <a:lnTo>
                    <a:pt x="9320763" y="3344427"/>
                  </a:lnTo>
                  <a:lnTo>
                    <a:pt x="9317184" y="3315343"/>
                  </a:lnTo>
                  <a:cubicBezTo>
                    <a:pt x="9315594" y="3300991"/>
                    <a:pt x="9313506" y="3286404"/>
                    <a:pt x="9311021" y="3270309"/>
                  </a:cubicBezTo>
                  <a:lnTo>
                    <a:pt x="9302719" y="3219815"/>
                  </a:lnTo>
                  <a:cubicBezTo>
                    <a:pt x="9299936" y="3203157"/>
                    <a:pt x="9297003" y="3186498"/>
                    <a:pt x="9293970" y="3169887"/>
                  </a:cubicBezTo>
                  <a:cubicBezTo>
                    <a:pt x="9281891" y="3103393"/>
                    <a:pt x="9267674" y="3037182"/>
                    <a:pt x="9252065" y="2971205"/>
                  </a:cubicBezTo>
                  <a:cubicBezTo>
                    <a:pt x="9244261" y="2938265"/>
                    <a:pt x="9235959" y="2905371"/>
                    <a:pt x="9227211" y="2872571"/>
                  </a:cubicBezTo>
                  <a:lnTo>
                    <a:pt x="9220699" y="2848524"/>
                  </a:lnTo>
                  <a:lnTo>
                    <a:pt x="9213740" y="2824289"/>
                  </a:lnTo>
                  <a:cubicBezTo>
                    <a:pt x="9209216" y="2808147"/>
                    <a:pt x="9204345" y="2791866"/>
                    <a:pt x="9199374" y="2775536"/>
                  </a:cubicBezTo>
                  <a:cubicBezTo>
                    <a:pt x="9159855" y="2645184"/>
                    <a:pt x="9114272" y="2516197"/>
                    <a:pt x="9061829" y="2389515"/>
                  </a:cubicBezTo>
                  <a:cubicBezTo>
                    <a:pt x="9035582" y="2326175"/>
                    <a:pt x="9008043" y="2263258"/>
                    <a:pt x="8978865" y="2200953"/>
                  </a:cubicBezTo>
                  <a:lnTo>
                    <a:pt x="8956694" y="2154317"/>
                  </a:lnTo>
                  <a:lnTo>
                    <a:pt x="8934176" y="2108012"/>
                  </a:lnTo>
                  <a:cubicBezTo>
                    <a:pt x="8918915" y="2077189"/>
                    <a:pt x="8903157" y="2046130"/>
                    <a:pt x="8887151" y="2015448"/>
                  </a:cubicBezTo>
                  <a:cubicBezTo>
                    <a:pt x="8854988" y="1953989"/>
                    <a:pt x="8822082" y="1892908"/>
                    <a:pt x="8787533" y="1832625"/>
                  </a:cubicBezTo>
                  <a:lnTo>
                    <a:pt x="8761485" y="1787496"/>
                  </a:lnTo>
                  <a:lnTo>
                    <a:pt x="8734791" y="1741991"/>
                  </a:lnTo>
                  <a:cubicBezTo>
                    <a:pt x="8717047" y="1711921"/>
                    <a:pt x="8699200" y="1682461"/>
                    <a:pt x="8680808" y="1652910"/>
                  </a:cubicBezTo>
                  <a:cubicBezTo>
                    <a:pt x="8644322" y="1593756"/>
                    <a:pt x="8606194" y="1535216"/>
                    <a:pt x="8567024" y="1477004"/>
                  </a:cubicBezTo>
                  <a:lnTo>
                    <a:pt x="8537446" y="1433428"/>
                  </a:lnTo>
                  <a:lnTo>
                    <a:pt x="8507423" y="1389994"/>
                  </a:lnTo>
                  <a:cubicBezTo>
                    <a:pt x="8487390" y="1361382"/>
                    <a:pt x="8467158" y="1332817"/>
                    <a:pt x="8446529" y="1304393"/>
                  </a:cubicBezTo>
                  <a:cubicBezTo>
                    <a:pt x="8405271" y="1247595"/>
                    <a:pt x="8362718" y="1191218"/>
                    <a:pt x="8319224" y="1135124"/>
                  </a:cubicBezTo>
                  <a:lnTo>
                    <a:pt x="8286366" y="1093148"/>
                  </a:lnTo>
                  <a:lnTo>
                    <a:pt x="8270161" y="1072538"/>
                  </a:lnTo>
                  <a:lnTo>
                    <a:pt x="8253856" y="1052254"/>
                  </a:lnTo>
                  <a:cubicBezTo>
                    <a:pt x="8231636" y="1024773"/>
                    <a:pt x="8209117" y="997479"/>
                    <a:pt x="8186352" y="970373"/>
                  </a:cubicBezTo>
                  <a:cubicBezTo>
                    <a:pt x="8140917" y="916020"/>
                    <a:pt x="8094240" y="862515"/>
                    <a:pt x="8046768" y="809527"/>
                  </a:cubicBezTo>
                  <a:lnTo>
                    <a:pt x="8010927" y="769951"/>
                  </a:lnTo>
                  <a:lnTo>
                    <a:pt x="7974788" y="730751"/>
                  </a:lnTo>
                  <a:cubicBezTo>
                    <a:pt x="7950382" y="704587"/>
                    <a:pt x="7925824" y="678563"/>
                    <a:pt x="7901070" y="652823"/>
                  </a:cubicBezTo>
                  <a:cubicBezTo>
                    <a:pt x="7851510" y="601387"/>
                    <a:pt x="7801404" y="550612"/>
                    <a:pt x="7750054" y="501106"/>
                  </a:cubicBezTo>
                  <a:cubicBezTo>
                    <a:pt x="7698902" y="451742"/>
                    <a:pt x="7645913" y="403036"/>
                    <a:pt x="7592277" y="355319"/>
                  </a:cubicBezTo>
                  <a:cubicBezTo>
                    <a:pt x="7484856" y="259884"/>
                    <a:pt x="7373308" y="168402"/>
                    <a:pt x="7257734" y="81062"/>
                  </a:cubicBezTo>
                  <a:close/>
                  <a:moveTo>
                    <a:pt x="1892109" y="0"/>
                  </a:moveTo>
                  <a:lnTo>
                    <a:pt x="2298402" y="0"/>
                  </a:lnTo>
                  <a:lnTo>
                    <a:pt x="2135542" y="121879"/>
                  </a:lnTo>
                  <a:cubicBezTo>
                    <a:pt x="2078998" y="166378"/>
                    <a:pt x="2023659" y="212143"/>
                    <a:pt x="1969576" y="259084"/>
                  </a:cubicBezTo>
                  <a:cubicBezTo>
                    <a:pt x="1861309" y="352918"/>
                    <a:pt x="1758064" y="451412"/>
                    <a:pt x="1659938" y="553953"/>
                  </a:cubicBezTo>
                  <a:cubicBezTo>
                    <a:pt x="1266987" y="964444"/>
                    <a:pt x="953820" y="1435593"/>
                    <a:pt x="729383" y="1940578"/>
                  </a:cubicBezTo>
                  <a:cubicBezTo>
                    <a:pt x="673260" y="2066459"/>
                    <a:pt x="622855" y="2195070"/>
                    <a:pt x="578465" y="2324905"/>
                  </a:cubicBezTo>
                  <a:cubicBezTo>
                    <a:pt x="534125" y="2454785"/>
                    <a:pt x="496147" y="2586314"/>
                    <a:pt x="465080" y="2718973"/>
                  </a:cubicBezTo>
                  <a:cubicBezTo>
                    <a:pt x="449769" y="2785089"/>
                    <a:pt x="435850" y="2852289"/>
                    <a:pt x="423820" y="2919535"/>
                  </a:cubicBezTo>
                  <a:cubicBezTo>
                    <a:pt x="411840" y="2986829"/>
                    <a:pt x="401054" y="3054358"/>
                    <a:pt x="392355" y="3122169"/>
                  </a:cubicBezTo>
                  <a:cubicBezTo>
                    <a:pt x="374509" y="3257744"/>
                    <a:pt x="363424" y="3393978"/>
                    <a:pt x="358801" y="3531013"/>
                  </a:cubicBezTo>
                  <a:cubicBezTo>
                    <a:pt x="349009" y="3804941"/>
                    <a:pt x="366357" y="4079668"/>
                    <a:pt x="410350" y="4352324"/>
                  </a:cubicBezTo>
                  <a:cubicBezTo>
                    <a:pt x="421286" y="4420230"/>
                    <a:pt x="434209" y="4487758"/>
                    <a:pt x="449022" y="4555147"/>
                  </a:cubicBezTo>
                  <a:cubicBezTo>
                    <a:pt x="463737" y="4622534"/>
                    <a:pt x="480389" y="4689686"/>
                    <a:pt x="498882" y="4756463"/>
                  </a:cubicBezTo>
                  <a:cubicBezTo>
                    <a:pt x="517373" y="4823239"/>
                    <a:pt x="537704" y="4889733"/>
                    <a:pt x="559775" y="4955755"/>
                  </a:cubicBezTo>
                  <a:cubicBezTo>
                    <a:pt x="581946" y="5021873"/>
                    <a:pt x="605358" y="5087473"/>
                    <a:pt x="631406" y="5152084"/>
                  </a:cubicBezTo>
                  <a:cubicBezTo>
                    <a:pt x="734055" y="5411706"/>
                    <a:pt x="865188" y="5662668"/>
                    <a:pt x="1023461" y="5898055"/>
                  </a:cubicBezTo>
                  <a:cubicBezTo>
                    <a:pt x="1181487" y="6133676"/>
                    <a:pt x="1367051" y="6353345"/>
                    <a:pt x="1575880" y="6551744"/>
                  </a:cubicBezTo>
                  <a:cubicBezTo>
                    <a:pt x="1680269" y="6651014"/>
                    <a:pt x="1790338" y="6745037"/>
                    <a:pt x="1905228" y="6833566"/>
                  </a:cubicBezTo>
                  <a:lnTo>
                    <a:pt x="1938629" y="6858000"/>
                  </a:lnTo>
                  <a:lnTo>
                    <a:pt x="1368607" y="6858000"/>
                  </a:lnTo>
                  <a:lnTo>
                    <a:pt x="1115251" y="6594103"/>
                  </a:lnTo>
                  <a:cubicBezTo>
                    <a:pt x="418530" y="5794890"/>
                    <a:pt x="0" y="4770280"/>
                    <a:pt x="0" y="3653129"/>
                  </a:cubicBezTo>
                  <a:cubicBezTo>
                    <a:pt x="0" y="2216793"/>
                    <a:pt x="691856" y="933432"/>
                    <a:pt x="1777294" y="8541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grpSp>
      <p:sp>
        <p:nvSpPr>
          <p:cNvPr id="2" name="Titel 1">
            <a:extLst>
              <a:ext uri="{FF2B5EF4-FFF2-40B4-BE49-F238E27FC236}">
                <a16:creationId xmlns:a16="http://schemas.microsoft.com/office/drawing/2014/main" id="{C6D6A4BF-2BBE-5892-F49C-375FE48A57D2}"/>
              </a:ext>
            </a:extLst>
          </p:cNvPr>
          <p:cNvSpPr>
            <a:spLocks noGrp="1"/>
          </p:cNvSpPr>
          <p:nvPr>
            <p:ph type="title"/>
          </p:nvPr>
        </p:nvSpPr>
        <p:spPr>
          <a:xfrm>
            <a:off x="4239466" y="2043663"/>
            <a:ext cx="6105194" cy="2031055"/>
          </a:xfrm>
        </p:spPr>
        <p:txBody>
          <a:bodyPr vert="horz" lIns="91440" tIns="45720" rIns="91440" bIns="45720" rtlCol="0" anchor="b">
            <a:normAutofit/>
          </a:bodyPr>
          <a:lstStyle/>
          <a:p>
            <a:pPr algn="ctr"/>
            <a:r>
              <a:rPr lang="en-US" sz="8000" b="1" kern="1200" dirty="0">
                <a:latin typeface="+mj-lt"/>
                <a:ea typeface="+mj-ea"/>
                <a:cs typeface="+mj-cs"/>
              </a:rPr>
              <a:t>EVENTUELT</a:t>
            </a:r>
          </a:p>
        </p:txBody>
      </p:sp>
      <p:pic>
        <p:nvPicPr>
          <p:cNvPr id="5" name="Pladsholder til indhold 4">
            <a:extLst>
              <a:ext uri="{FF2B5EF4-FFF2-40B4-BE49-F238E27FC236}">
                <a16:creationId xmlns:a16="http://schemas.microsoft.com/office/drawing/2014/main" id="{7360B777-C60D-AAE5-840A-C7478035FFC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8292" r="48649"/>
          <a:stretch>
            <a:fillRect/>
          </a:stretch>
        </p:blipFill>
        <p:spPr>
          <a:xfrm>
            <a:off x="0" y="10"/>
            <a:ext cx="1194098"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C7378F90-58A1-DF62-0A3D-4D1717087E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30366" y="298632"/>
            <a:ext cx="1078927" cy="968009"/>
          </a:xfrm>
          <a:prstGeom prst="rect">
            <a:avLst/>
          </a:prstGeom>
        </p:spPr>
      </p:pic>
    </p:spTree>
    <p:extLst>
      <p:ext uri="{BB962C8B-B14F-4D97-AF65-F5344CB8AC3E}">
        <p14:creationId xmlns:p14="http://schemas.microsoft.com/office/powerpoint/2010/main" val="19032403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14A54-3EF8-5786-4048-DEEE3B0FB3F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416346-1C68-C2CA-4BA0-9BA1093A4C5F}"/>
              </a:ext>
            </a:extLst>
          </p:cNvPr>
          <p:cNvSpPr>
            <a:spLocks noGrp="1"/>
          </p:cNvSpPr>
          <p:nvPr>
            <p:ph type="title"/>
          </p:nvPr>
        </p:nvSpPr>
        <p:spPr>
          <a:xfrm>
            <a:off x="1589897" y="197032"/>
            <a:ext cx="6781800" cy="1338696"/>
          </a:xfrm>
        </p:spPr>
        <p:txBody>
          <a:bodyPr vert="horz" lIns="91440" tIns="45720" rIns="91440" bIns="45720" rtlCol="0" anchor="ctr">
            <a:normAutofit/>
          </a:bodyPr>
          <a:lstStyle/>
          <a:p>
            <a:r>
              <a:rPr lang="en-US" sz="6600" b="1"/>
              <a:t>TAK FOR I AFTEN</a:t>
            </a:r>
          </a:p>
        </p:txBody>
      </p:sp>
      <p:pic>
        <p:nvPicPr>
          <p:cNvPr id="5" name="Pladsholder til indhold 4">
            <a:extLst>
              <a:ext uri="{FF2B5EF4-FFF2-40B4-BE49-F238E27FC236}">
                <a16:creationId xmlns:a16="http://schemas.microsoft.com/office/drawing/2014/main" id="{39419385-42C2-CC6D-1358-A194924B816A}"/>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9307" r="275"/>
          <a:stretch>
            <a:fillRect/>
          </a:stretch>
        </p:blipFill>
        <p:spPr>
          <a:xfrm>
            <a:off x="-2679700" y="10"/>
            <a:ext cx="11798300"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3762C4D5-FD5E-6EC8-2400-E296558FD4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17586" y="554744"/>
            <a:ext cx="2186777" cy="1961968"/>
          </a:xfrm>
          <a:prstGeom prst="rect">
            <a:avLst/>
          </a:prstGeom>
        </p:spPr>
      </p:pic>
      <p:sp>
        <p:nvSpPr>
          <p:cNvPr id="9" name="Titel 1">
            <a:extLst>
              <a:ext uri="{FF2B5EF4-FFF2-40B4-BE49-F238E27FC236}">
                <a16:creationId xmlns:a16="http://schemas.microsoft.com/office/drawing/2014/main" id="{40B94394-CF70-5170-569E-AB35FDBD7342}"/>
              </a:ext>
            </a:extLst>
          </p:cNvPr>
          <p:cNvSpPr txBox="1">
            <a:spLocks/>
          </p:cNvSpPr>
          <p:nvPr/>
        </p:nvSpPr>
        <p:spPr>
          <a:xfrm>
            <a:off x="1323197" y="5099232"/>
            <a:ext cx="6781800" cy="1338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600" b="1">
                <a:solidFill>
                  <a:schemeClr val="bg1"/>
                </a:solidFill>
              </a:rPr>
              <a:t>TAK FOR I AFTEN</a:t>
            </a:r>
          </a:p>
        </p:txBody>
      </p:sp>
    </p:spTree>
    <p:extLst>
      <p:ext uri="{BB962C8B-B14F-4D97-AF65-F5344CB8AC3E}">
        <p14:creationId xmlns:p14="http://schemas.microsoft.com/office/powerpoint/2010/main" val="40833058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12E4E-E3DE-5F51-3ABE-9E2473BBFF84}"/>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5F0EE413-D278-BAA8-AB76-25EE8EFA4680}"/>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25234" t="1" r="20530" b="-1569"/>
          <a:stretch>
            <a:fillRect/>
          </a:stretch>
        </p:blipFill>
        <p:spPr>
          <a:xfrm>
            <a:off x="-1" y="0"/>
            <a:ext cx="4959275"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10" name="Title 1">
            <a:extLst>
              <a:ext uri="{FF2B5EF4-FFF2-40B4-BE49-F238E27FC236}">
                <a16:creationId xmlns:a16="http://schemas.microsoft.com/office/drawing/2014/main" id="{7915D8CD-1345-B072-D87D-49A1C72A4A69}"/>
              </a:ext>
            </a:extLst>
          </p:cNvPr>
          <p:cNvSpPr txBox="1">
            <a:spLocks/>
          </p:cNvSpPr>
          <p:nvPr/>
        </p:nvSpPr>
        <p:spPr>
          <a:xfrm>
            <a:off x="5143287" y="2144800"/>
            <a:ext cx="6687172" cy="267597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7200" b="1" dirty="0"/>
              <a:t>BERETNING VED FORMANDEN</a:t>
            </a:r>
            <a:endParaRPr lang="en-US" sz="4800" b="1" dirty="0">
              <a:latin typeface="+mn-lt"/>
            </a:endParaRPr>
          </a:p>
        </p:txBody>
      </p:sp>
      <p:pic>
        <p:nvPicPr>
          <p:cNvPr id="2" name="Billede 1" descr="Et billede, der indeholder tekst, Grafik, logo, grafisk design">
            <a:extLst>
              <a:ext uri="{FF2B5EF4-FFF2-40B4-BE49-F238E27FC236}">
                <a16:creationId xmlns:a16="http://schemas.microsoft.com/office/drawing/2014/main" id="{6087ED86-ABD1-9FC0-67F9-AE7851F33F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Tree>
    <p:extLst>
      <p:ext uri="{BB962C8B-B14F-4D97-AF65-F5344CB8AC3E}">
        <p14:creationId xmlns:p14="http://schemas.microsoft.com/office/powerpoint/2010/main" val="21276279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4F055-C3C5-B2AA-4D8A-0B8C0C4B875E}"/>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C62804FD-0CFF-969D-B114-35B38FAF84F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15015" t="4373" r="50728" b="-4373"/>
          <a:stretch>
            <a:fillRect/>
          </a:stretch>
        </p:blipFill>
        <p:spPr>
          <a:xfrm>
            <a:off x="0" y="0"/>
            <a:ext cx="3179135" cy="696557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10" name="Title 1">
            <a:extLst>
              <a:ext uri="{FF2B5EF4-FFF2-40B4-BE49-F238E27FC236}">
                <a16:creationId xmlns:a16="http://schemas.microsoft.com/office/drawing/2014/main" id="{BF8C886A-F131-6D1B-3309-F20D12EC4103}"/>
              </a:ext>
            </a:extLst>
          </p:cNvPr>
          <p:cNvSpPr txBox="1">
            <a:spLocks/>
          </p:cNvSpPr>
          <p:nvPr/>
        </p:nvSpPr>
        <p:spPr>
          <a:xfrm>
            <a:off x="3653149" y="267921"/>
            <a:ext cx="6687172" cy="120095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600" b="1"/>
              <a:t>ROBOTTER 2025</a:t>
            </a:r>
          </a:p>
        </p:txBody>
      </p:sp>
      <p:pic>
        <p:nvPicPr>
          <p:cNvPr id="2" name="Billede 1" descr="Et billede, der indeholder tekst, Grafik, logo, grafisk design">
            <a:extLst>
              <a:ext uri="{FF2B5EF4-FFF2-40B4-BE49-F238E27FC236}">
                <a16:creationId xmlns:a16="http://schemas.microsoft.com/office/drawing/2014/main" id="{65640B9B-2ED0-5F99-19B3-38E5AA6725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pic>
        <p:nvPicPr>
          <p:cNvPr id="4" name="Billede 3">
            <a:extLst>
              <a:ext uri="{FF2B5EF4-FFF2-40B4-BE49-F238E27FC236}">
                <a16:creationId xmlns:a16="http://schemas.microsoft.com/office/drawing/2014/main" id="{B13AF29E-C4A5-B829-0EEF-35786A9F5D5C}"/>
              </a:ext>
            </a:extLst>
          </p:cNvPr>
          <p:cNvPicPr>
            <a:picLocks noChangeAspect="1"/>
          </p:cNvPicPr>
          <p:nvPr/>
        </p:nvPicPr>
        <p:blipFill>
          <a:blip r:embed="rId5"/>
          <a:stretch>
            <a:fillRect/>
          </a:stretch>
        </p:blipFill>
        <p:spPr>
          <a:xfrm>
            <a:off x="3581503" y="1772700"/>
            <a:ext cx="8194861" cy="4274809"/>
          </a:xfrm>
          <a:prstGeom prst="rect">
            <a:avLst/>
          </a:prstGeom>
        </p:spPr>
      </p:pic>
      <p:sp>
        <p:nvSpPr>
          <p:cNvPr id="3" name="Rektangel 2">
            <a:extLst>
              <a:ext uri="{FF2B5EF4-FFF2-40B4-BE49-F238E27FC236}">
                <a16:creationId xmlns:a16="http://schemas.microsoft.com/office/drawing/2014/main" id="{81DEE209-E4EE-F8DF-8137-A4C991E68D55}"/>
              </a:ext>
            </a:extLst>
          </p:cNvPr>
          <p:cNvSpPr/>
          <p:nvPr/>
        </p:nvSpPr>
        <p:spPr>
          <a:xfrm>
            <a:off x="4302389" y="5642555"/>
            <a:ext cx="2123219" cy="3497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600" b="1">
                <a:solidFill>
                  <a:schemeClr val="tx1">
                    <a:lumMod val="65000"/>
                    <a:lumOff val="35000"/>
                  </a:schemeClr>
                </a:solidFill>
                <a:latin typeface="Arial"/>
                <a:ea typeface="Calibri"/>
                <a:cs typeface="Arial"/>
              </a:rPr>
              <a:t>Køb af 12 robotter</a:t>
            </a:r>
          </a:p>
        </p:txBody>
      </p:sp>
    </p:spTree>
    <p:extLst>
      <p:ext uri="{BB962C8B-B14F-4D97-AF65-F5344CB8AC3E}">
        <p14:creationId xmlns:p14="http://schemas.microsoft.com/office/powerpoint/2010/main" val="41378450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79480-BBE0-3FF4-9999-0473DEDB1E70}"/>
            </a:ext>
          </a:extLst>
        </p:cNvPr>
        <p:cNvGrpSpPr/>
        <p:nvPr/>
      </p:nvGrpSpPr>
      <p:grpSpPr>
        <a:xfrm>
          <a:off x="0" y="0"/>
          <a:ext cx="0" cy="0"/>
          <a:chOff x="0" y="0"/>
          <a:chExt cx="0" cy="0"/>
        </a:xfrm>
      </p:grpSpPr>
      <p:pic>
        <p:nvPicPr>
          <p:cNvPr id="11" name="Picture 2" descr="Et billede, der indeholder design&#10;&#10;AI-genereret indhold kan være ukorrekt.">
            <a:extLst>
              <a:ext uri="{FF2B5EF4-FFF2-40B4-BE49-F238E27FC236}">
                <a16:creationId xmlns:a16="http://schemas.microsoft.com/office/drawing/2014/main" id="{54341C9B-787E-46CE-B5A1-772E3C736839}"/>
              </a:ext>
            </a:extLst>
          </p:cNvPr>
          <p:cNvPicPr>
            <a:picLocks noChangeAspect="1"/>
          </p:cNvPicPr>
          <p:nvPr/>
        </p:nvPicPr>
        <p:blipFill>
          <a:blip r:embed="rId3">
            <a:extLst>
              <a:ext uri="{837473B0-CC2E-450A-ABE3-18F120FF3D39}">
                <a1611:picAttrSrcUrl xmlns:a1611="http://schemas.microsoft.com/office/drawing/2016/11/main" r:id="rId4"/>
              </a:ext>
            </a:extLst>
          </a:blip>
          <a:srcRect r="33473"/>
          <a:stretch>
            <a:fillRect/>
          </a:stretch>
        </p:blipFill>
        <p:spPr>
          <a:xfrm rot="10800000">
            <a:off x="6197598" y="324152"/>
            <a:ext cx="4687248" cy="4637761"/>
          </a:xfrm>
          <a:prstGeom prst="rect">
            <a:avLst/>
          </a:prstGeom>
        </p:spPr>
      </p:pic>
      <p:pic>
        <p:nvPicPr>
          <p:cNvPr id="9" name="Picture 2">
            <a:extLst>
              <a:ext uri="{FF2B5EF4-FFF2-40B4-BE49-F238E27FC236}">
                <a16:creationId xmlns:a16="http://schemas.microsoft.com/office/drawing/2014/main" id="{753F2C6B-B872-EFA3-EFDB-585391B05EAF}"/>
              </a:ext>
            </a:extLst>
          </p:cNvPr>
          <p:cNvPicPr>
            <a:picLocks noChangeAspect="1"/>
          </p:cNvPicPr>
          <p:nvPr/>
        </p:nvPicPr>
        <p:blipFill>
          <a:blip r:embed="rId3">
            <a:extLst>
              <a:ext uri="{837473B0-CC2E-450A-ABE3-18F120FF3D39}">
                <a1611:picAttrSrcUrl xmlns:a1611="http://schemas.microsoft.com/office/drawing/2016/11/main" r:id="rId4"/>
              </a:ext>
            </a:extLst>
          </a:blip>
          <a:srcRect r="33473"/>
          <a:stretch>
            <a:fillRect/>
          </a:stretch>
        </p:blipFill>
        <p:spPr>
          <a:xfrm>
            <a:off x="5494783" y="4541046"/>
            <a:ext cx="4687248" cy="4637761"/>
          </a:xfrm>
          <a:prstGeom prst="rect">
            <a:avLst/>
          </a:prstGeom>
        </p:spPr>
      </p:pic>
      <p:pic>
        <p:nvPicPr>
          <p:cNvPr id="4" name="Billede 3" descr="Ingen tilgængelig billedbeskrivelse.">
            <a:extLst>
              <a:ext uri="{FF2B5EF4-FFF2-40B4-BE49-F238E27FC236}">
                <a16:creationId xmlns:a16="http://schemas.microsoft.com/office/drawing/2014/main" id="{275191D1-1370-2F42-9F77-AD8E586F4843}"/>
              </a:ext>
            </a:extLst>
          </p:cNvPr>
          <p:cNvPicPr>
            <a:picLocks noChangeAspect="1"/>
          </p:cNvPicPr>
          <p:nvPr/>
        </p:nvPicPr>
        <p:blipFill>
          <a:blip r:embed="rId5"/>
          <a:srcRect l="5659" t="22654" r="-4385" b="28883"/>
          <a:stretch>
            <a:fillRect/>
          </a:stretch>
        </p:blipFill>
        <p:spPr>
          <a:xfrm>
            <a:off x="4537785" y="1161495"/>
            <a:ext cx="5507048" cy="3604713"/>
          </a:xfrm>
          <a:prstGeom prst="rect">
            <a:avLst/>
          </a:prstGeom>
        </p:spPr>
      </p:pic>
      <p:pic>
        <p:nvPicPr>
          <p:cNvPr id="6" name="Billede 5" descr="Ingen tilgængelig billedbeskrivelse.">
            <a:extLst>
              <a:ext uri="{FF2B5EF4-FFF2-40B4-BE49-F238E27FC236}">
                <a16:creationId xmlns:a16="http://schemas.microsoft.com/office/drawing/2014/main" id="{F923CCBF-877E-172B-2EE3-905CA3DA32CE}"/>
              </a:ext>
            </a:extLst>
          </p:cNvPr>
          <p:cNvPicPr>
            <a:picLocks noChangeAspect="1"/>
          </p:cNvPicPr>
          <p:nvPr/>
        </p:nvPicPr>
        <p:blipFill>
          <a:blip r:embed="rId6"/>
          <a:srcRect l="-1505" t="34769" r="137" b="19282"/>
          <a:stretch>
            <a:fillRect/>
          </a:stretch>
        </p:blipFill>
        <p:spPr>
          <a:xfrm>
            <a:off x="6535470" y="3546313"/>
            <a:ext cx="5480363" cy="3314207"/>
          </a:xfrm>
          <a:prstGeom prst="rect">
            <a:avLst/>
          </a:prstGeom>
        </p:spPr>
      </p:pic>
      <p:pic>
        <p:nvPicPr>
          <p:cNvPr id="3" name="Picture 2">
            <a:extLst>
              <a:ext uri="{FF2B5EF4-FFF2-40B4-BE49-F238E27FC236}">
                <a16:creationId xmlns:a16="http://schemas.microsoft.com/office/drawing/2014/main" id="{F87F4BAF-07DC-9A93-CE8F-BB68B4474E32}"/>
              </a:ext>
            </a:extLst>
          </p:cNvPr>
          <p:cNvPicPr>
            <a:picLocks noChangeAspect="1"/>
          </p:cNvPicPr>
          <p:nvPr/>
        </p:nvPicPr>
        <p:blipFill>
          <a:blip r:embed="rId3">
            <a:extLst>
              <a:ext uri="{837473B0-CC2E-450A-ABE3-18F120FF3D39}">
                <a1611:picAttrSrcUrl xmlns:a1611="http://schemas.microsoft.com/office/drawing/2016/11/main" r:id="rId4"/>
              </a:ext>
            </a:extLst>
          </a:blip>
          <a:srcRect r="33473"/>
          <a:stretch>
            <a:fillRect/>
          </a:stretch>
        </p:blipFill>
        <p:spPr>
          <a:xfrm>
            <a:off x="-1975" y="-1361"/>
            <a:ext cx="4687248" cy="4637761"/>
          </a:xfrm>
          <a:prstGeom prst="rect">
            <a:avLst/>
          </a:prstGeom>
        </p:spPr>
      </p:pic>
      <p:pic>
        <p:nvPicPr>
          <p:cNvPr id="5" name="Pladsholder til indhold 4">
            <a:extLst>
              <a:ext uri="{FF2B5EF4-FFF2-40B4-BE49-F238E27FC236}">
                <a16:creationId xmlns:a16="http://schemas.microsoft.com/office/drawing/2014/main" id="{57519443-4A73-6789-AF0C-66104199A6EE}"/>
              </a:ext>
            </a:extLst>
          </p:cNvPr>
          <p:cNvPicPr>
            <a:picLocks noGrp="1" noChangeAspect="1"/>
          </p:cNvPicPr>
          <p:nvPr>
            <p:ph sz="half" idx="1"/>
          </p:nvPr>
        </p:nvPicPr>
        <p:blipFill>
          <a:blip r:embed="rId7"/>
          <a:srcRect t="4018" r="6940" b="17899"/>
          <a:stretch>
            <a:fillRect/>
          </a:stretch>
        </p:blipFill>
        <p:spPr>
          <a:xfrm>
            <a:off x="0" y="1158967"/>
            <a:ext cx="4861605" cy="5704821"/>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2" name="Billede 1" descr="Et billede, der indeholder tekst, Grafik, logo, grafisk design">
            <a:extLst>
              <a:ext uri="{FF2B5EF4-FFF2-40B4-BE49-F238E27FC236}">
                <a16:creationId xmlns:a16="http://schemas.microsoft.com/office/drawing/2014/main" id="{3F3B9C95-5526-9517-03DF-CE0BB5670C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10" name="Title 1">
            <a:extLst>
              <a:ext uri="{FF2B5EF4-FFF2-40B4-BE49-F238E27FC236}">
                <a16:creationId xmlns:a16="http://schemas.microsoft.com/office/drawing/2014/main" id="{6D3DBB50-4C62-18A9-56EE-B5B7E411CEAA}"/>
              </a:ext>
            </a:extLst>
          </p:cNvPr>
          <p:cNvSpPr txBox="1">
            <a:spLocks/>
          </p:cNvSpPr>
          <p:nvPr/>
        </p:nvSpPr>
        <p:spPr>
          <a:xfrm>
            <a:off x="2864824" y="-477068"/>
            <a:ext cx="9326932" cy="1904550"/>
          </a:xfrm>
          <a:prstGeom prst="rect">
            <a:avLst/>
          </a:prstGeom>
          <a:noFill/>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sz="1400" b="1">
              <a:ea typeface="Calibri Light"/>
              <a:cs typeface="Calibri Light"/>
            </a:endParaRPr>
          </a:p>
          <a:p>
            <a:pPr algn="ctr"/>
            <a:endParaRPr lang="en-US" sz="1400" b="1"/>
          </a:p>
          <a:p>
            <a:pPr algn="ctr"/>
            <a:endParaRPr lang="en-US" sz="1400" b="1"/>
          </a:p>
          <a:p>
            <a:pPr algn="ctr"/>
            <a:r>
              <a:rPr lang="en-US" sz="6600" b="1"/>
              <a:t>20 ÅRS JUBILÆUM</a:t>
            </a:r>
            <a:endParaRPr lang="en-US">
              <a:latin typeface="Calibri Light"/>
              <a:ea typeface="Calibri Light"/>
              <a:cs typeface="Calibri Light"/>
            </a:endParaRPr>
          </a:p>
        </p:txBody>
      </p:sp>
    </p:spTree>
    <p:extLst>
      <p:ext uri="{BB962C8B-B14F-4D97-AF65-F5344CB8AC3E}">
        <p14:creationId xmlns:p14="http://schemas.microsoft.com/office/powerpoint/2010/main" val="21871897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0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A9B42-6312-F2FE-CE32-AF1E7719E2F2}"/>
            </a:ext>
          </a:extLst>
        </p:cNvPr>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57E273E6-27D6-BB83-412D-39EF0016174D}"/>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l="39630" r="15716"/>
          <a:stretch>
            <a:fillRect/>
          </a:stretch>
        </p:blipFill>
        <p:spPr>
          <a:xfrm>
            <a:off x="0" y="10"/>
            <a:ext cx="1449002"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pic>
        <p:nvPicPr>
          <p:cNvPr id="3" name="Billede 2" descr="Et billede, der indeholder tekst, Grafik, logo, grafisk design">
            <a:extLst>
              <a:ext uri="{FF2B5EF4-FFF2-40B4-BE49-F238E27FC236}">
                <a16:creationId xmlns:a16="http://schemas.microsoft.com/office/drawing/2014/main" id="{3B51E2F4-16C3-6270-0107-96FC8BBA91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20" name="Titel 1">
            <a:extLst>
              <a:ext uri="{FF2B5EF4-FFF2-40B4-BE49-F238E27FC236}">
                <a16:creationId xmlns:a16="http://schemas.microsoft.com/office/drawing/2014/main" id="{D8950427-8B0B-06C1-CD5C-24BA573B8D4E}"/>
              </a:ext>
            </a:extLst>
          </p:cNvPr>
          <p:cNvSpPr>
            <a:spLocks noGrp="1"/>
          </p:cNvSpPr>
          <p:nvPr>
            <p:ph type="title"/>
          </p:nvPr>
        </p:nvSpPr>
        <p:spPr>
          <a:xfrm>
            <a:off x="1561952" y="2511788"/>
            <a:ext cx="6482216" cy="1330840"/>
          </a:xfrm>
        </p:spPr>
        <p:txBody>
          <a:bodyPr vert="horz" lIns="91440" tIns="45720" rIns="91440" bIns="45720" rtlCol="0" anchor="ctr">
            <a:normAutofit fontScale="90000"/>
          </a:bodyPr>
          <a:lstStyle/>
          <a:p>
            <a:r>
              <a:rPr lang="en-US" sz="7300" b="1" kern="1200">
                <a:solidFill>
                  <a:schemeClr val="tx1"/>
                </a:solidFill>
                <a:latin typeface="+mj-lt"/>
                <a:ea typeface="+mj-ea"/>
                <a:cs typeface="+mj-cs"/>
              </a:rPr>
              <a:t>BANEUDVIKLING</a:t>
            </a:r>
            <a:br>
              <a:rPr lang="en-US" sz="2400" b="1" kern="1200">
                <a:solidFill>
                  <a:schemeClr val="tx1"/>
                </a:solidFill>
                <a:latin typeface="+mj-lt"/>
                <a:ea typeface="+mj-ea"/>
                <a:cs typeface="+mj-cs"/>
              </a:rPr>
            </a:br>
            <a:br>
              <a:rPr lang="en-US" sz="2400" b="1" kern="1200">
                <a:solidFill>
                  <a:schemeClr val="tx1"/>
                </a:solidFill>
                <a:latin typeface="+mj-lt"/>
                <a:ea typeface="+mj-ea"/>
                <a:cs typeface="+mj-cs"/>
              </a:rPr>
            </a:br>
            <a:br>
              <a:rPr lang="en-US" sz="2400" b="1" kern="1200">
                <a:solidFill>
                  <a:schemeClr val="tx1"/>
                </a:solidFill>
                <a:latin typeface="+mj-lt"/>
                <a:ea typeface="+mj-ea"/>
                <a:cs typeface="+mj-cs"/>
              </a:rPr>
            </a:br>
            <a:br>
              <a:rPr lang="en-US" sz="2400" b="1" kern="1200">
                <a:solidFill>
                  <a:schemeClr val="tx1"/>
                </a:solidFill>
                <a:latin typeface="+mj-lt"/>
                <a:ea typeface="+mj-ea"/>
                <a:cs typeface="+mj-cs"/>
              </a:rPr>
            </a:br>
            <a:r>
              <a:rPr lang="en-US" b="1" i="1" kern="1200" err="1">
                <a:solidFill>
                  <a:schemeClr val="tx1"/>
                </a:solidFill>
                <a:latin typeface="+mj-lt"/>
                <a:ea typeface="+mj-ea"/>
                <a:cs typeface="+mj-cs"/>
              </a:rPr>
              <a:t>Udvikling</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i</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samspil</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mellem</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bestyrelse</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chefgreenkeeper</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og</a:t>
            </a:r>
            <a:r>
              <a:rPr lang="en-US" b="1" i="1" kern="1200">
                <a:solidFill>
                  <a:schemeClr val="tx1"/>
                </a:solidFill>
                <a:latin typeface="+mj-lt"/>
                <a:ea typeface="+mj-ea"/>
                <a:cs typeface="+mj-cs"/>
              </a:rPr>
              <a:t> </a:t>
            </a:r>
            <a:r>
              <a:rPr lang="en-US" b="1" i="1" kern="1200" err="1">
                <a:solidFill>
                  <a:schemeClr val="tx1"/>
                </a:solidFill>
                <a:latin typeface="+mj-lt"/>
                <a:ea typeface="+mj-ea"/>
                <a:cs typeface="+mj-cs"/>
              </a:rPr>
              <a:t>frivillige</a:t>
            </a:r>
            <a:br>
              <a:rPr lang="en-US" b="1" i="1" kern="1200">
                <a:solidFill>
                  <a:schemeClr val="tx1"/>
                </a:solidFill>
                <a:latin typeface="+mj-lt"/>
                <a:ea typeface="+mj-ea"/>
                <a:cs typeface="+mj-cs"/>
              </a:rPr>
            </a:br>
            <a:br>
              <a:rPr lang="en-US" b="1" i="1" kern="1200">
                <a:solidFill>
                  <a:schemeClr val="tx1"/>
                </a:solidFill>
                <a:latin typeface="+mj-lt"/>
                <a:ea typeface="+mj-ea"/>
                <a:cs typeface="+mj-cs"/>
              </a:rPr>
            </a:br>
            <a:r>
              <a:rPr lang="en-US" b="1" i="1" err="1"/>
              <a:t>Prioriteringer</a:t>
            </a:r>
            <a:r>
              <a:rPr lang="en-US" b="1" i="1"/>
              <a:t> </a:t>
            </a:r>
            <a:r>
              <a:rPr lang="en-US" b="1" i="1" err="1"/>
              <a:t>drøftes</a:t>
            </a:r>
            <a:r>
              <a:rPr lang="en-US" b="1" i="1"/>
              <a:t> </a:t>
            </a:r>
            <a:r>
              <a:rPr lang="en-US" b="1" i="1" err="1"/>
              <a:t>løbende</a:t>
            </a:r>
            <a:r>
              <a:rPr lang="en-US" b="1" i="1"/>
              <a:t>   </a:t>
            </a:r>
            <a:r>
              <a:rPr lang="en-US" b="1" i="1" err="1"/>
              <a:t>i</a:t>
            </a:r>
            <a:r>
              <a:rPr lang="en-US" b="1" i="1"/>
              <a:t> </a:t>
            </a:r>
            <a:r>
              <a:rPr lang="en-US" b="1" i="1" err="1"/>
              <a:t>bestyrelsen</a:t>
            </a:r>
            <a:br>
              <a:rPr lang="en-US" b="1" i="1"/>
            </a:br>
            <a:endParaRPr lang="en-US" b="1" i="1"/>
          </a:p>
        </p:txBody>
      </p:sp>
      <p:sp>
        <p:nvSpPr>
          <p:cNvPr id="22" name="Text 7">
            <a:extLst>
              <a:ext uri="{FF2B5EF4-FFF2-40B4-BE49-F238E27FC236}">
                <a16:creationId xmlns:a16="http://schemas.microsoft.com/office/drawing/2014/main" id="{2DC95C46-B66A-99E2-3EB0-C18AF992044D}"/>
              </a:ext>
            </a:extLst>
          </p:cNvPr>
          <p:cNvSpPr/>
          <p:nvPr/>
        </p:nvSpPr>
        <p:spPr>
          <a:xfrm>
            <a:off x="8525591" y="1744842"/>
            <a:ext cx="3216136" cy="669910"/>
          </a:xfrm>
          <a:prstGeom prst="rect">
            <a:avLst/>
          </a:prstGeom>
          <a:noFill/>
          <a:ln/>
        </p:spPr>
        <p:txBody>
          <a:bodyPr wrap="square" lIns="0" tIns="0" rIns="0" bIns="0" rtlCol="0" anchor="ctr"/>
          <a:lstStyle/>
          <a:p>
            <a:pPr lvl="0"/>
            <a:r>
              <a:rPr lang="en-US" sz="3200" dirty="0" err="1">
                <a:latin typeface="Calibri" pitchFamily="34" charset="0"/>
                <a:ea typeface="Calibri" pitchFamily="34" charset="-122"/>
                <a:cs typeface="Calibri" pitchFamily="34" charset="-120"/>
              </a:rPr>
              <a:t>Visuel</a:t>
            </a:r>
            <a:r>
              <a:rPr lang="en-US" sz="3200" dirty="0">
                <a:latin typeface="Calibri" pitchFamily="34" charset="0"/>
                <a:ea typeface="Calibri" pitchFamily="34" charset="-122"/>
                <a:cs typeface="Calibri" pitchFamily="34" charset="-120"/>
              </a:rPr>
              <a:t> </a:t>
            </a:r>
            <a:r>
              <a:rPr lang="en-US" sz="3200" dirty="0" err="1">
                <a:latin typeface="Calibri" pitchFamily="34" charset="0"/>
                <a:ea typeface="Calibri" pitchFamily="34" charset="-122"/>
                <a:cs typeface="Calibri" pitchFamily="34" charset="-120"/>
              </a:rPr>
              <a:t>flot</a:t>
            </a:r>
            <a:r>
              <a:rPr lang="en-US" sz="3200" dirty="0">
                <a:latin typeface="Calibri" pitchFamily="34" charset="0"/>
                <a:ea typeface="Calibri" pitchFamily="34" charset="-122"/>
                <a:cs typeface="Calibri" pitchFamily="34" charset="-120"/>
              </a:rPr>
              <a:t> </a:t>
            </a:r>
            <a:r>
              <a:rPr lang="en-US" sz="3200" dirty="0" err="1">
                <a:latin typeface="Calibri" pitchFamily="34" charset="0"/>
                <a:ea typeface="Calibri" pitchFamily="34" charset="-122"/>
                <a:cs typeface="Calibri" pitchFamily="34" charset="-120"/>
              </a:rPr>
              <a:t>og</a:t>
            </a:r>
            <a:r>
              <a:rPr lang="en-US" sz="3200" dirty="0">
                <a:latin typeface="Calibri" pitchFamily="34" charset="0"/>
                <a:ea typeface="Calibri" pitchFamily="34" charset="-122"/>
                <a:cs typeface="Calibri" pitchFamily="34" charset="-120"/>
              </a:rPr>
              <a:t> </a:t>
            </a:r>
            <a:r>
              <a:rPr lang="en-US" sz="3200" dirty="0" err="1">
                <a:latin typeface="Calibri" pitchFamily="34" charset="0"/>
                <a:ea typeface="Calibri" pitchFamily="34" charset="-122"/>
                <a:cs typeface="Calibri" pitchFamily="34" charset="-120"/>
              </a:rPr>
              <a:t>naturpræget</a:t>
            </a:r>
            <a:r>
              <a:rPr lang="en-US" sz="3200" dirty="0">
                <a:latin typeface="Calibri" pitchFamily="34" charset="0"/>
                <a:ea typeface="Calibri" pitchFamily="34" charset="-122"/>
                <a:cs typeface="Calibri" pitchFamily="34" charset="-120"/>
              </a:rPr>
              <a:t> bane </a:t>
            </a:r>
            <a:endParaRPr lang="en-US" sz="3200" dirty="0"/>
          </a:p>
        </p:txBody>
      </p:sp>
      <p:pic>
        <p:nvPicPr>
          <p:cNvPr id="24" name="Billede 23" descr="Et billede, der indeholder Grafik, symbol, logo, clipart&#10;&#10;AI-genereret indhold kan være ukorrekt.">
            <a:extLst>
              <a:ext uri="{FF2B5EF4-FFF2-40B4-BE49-F238E27FC236}">
                <a16:creationId xmlns:a16="http://schemas.microsoft.com/office/drawing/2014/main" id="{660DB1CD-7E22-41DE-AFF8-CB269CE97355}"/>
              </a:ext>
            </a:extLst>
          </p:cNvPr>
          <p:cNvPicPr>
            <a:picLocks noChangeAspect="1"/>
          </p:cNvPicPr>
          <p:nvPr/>
        </p:nvPicPr>
        <p:blipFill>
          <a:blip r:embed="rId5"/>
          <a:stretch>
            <a:fillRect/>
          </a:stretch>
        </p:blipFill>
        <p:spPr>
          <a:xfrm>
            <a:off x="7533397" y="1624619"/>
            <a:ext cx="898275" cy="842133"/>
          </a:xfrm>
          <a:prstGeom prst="rect">
            <a:avLst/>
          </a:prstGeom>
        </p:spPr>
      </p:pic>
      <p:pic>
        <p:nvPicPr>
          <p:cNvPr id="26" name="Billede 25" descr="Et billede, der indeholder symbol, logo, Font/skrifttype, cirkel&#10;&#10;AI-genereret indhold kan være ukorrekt.">
            <a:extLst>
              <a:ext uri="{FF2B5EF4-FFF2-40B4-BE49-F238E27FC236}">
                <a16:creationId xmlns:a16="http://schemas.microsoft.com/office/drawing/2014/main" id="{CB088DC8-C96C-F2AE-C4D0-1F0EB197BE64}"/>
              </a:ext>
            </a:extLst>
          </p:cNvPr>
          <p:cNvPicPr>
            <a:picLocks noChangeAspect="1"/>
          </p:cNvPicPr>
          <p:nvPr/>
        </p:nvPicPr>
        <p:blipFill>
          <a:blip r:embed="rId6"/>
          <a:stretch>
            <a:fillRect/>
          </a:stretch>
        </p:blipFill>
        <p:spPr>
          <a:xfrm>
            <a:off x="7537550" y="3143696"/>
            <a:ext cx="868892" cy="868892"/>
          </a:xfrm>
          <a:prstGeom prst="rect">
            <a:avLst/>
          </a:prstGeom>
        </p:spPr>
      </p:pic>
      <p:sp>
        <p:nvSpPr>
          <p:cNvPr id="28" name="Text 7">
            <a:extLst>
              <a:ext uri="{FF2B5EF4-FFF2-40B4-BE49-F238E27FC236}">
                <a16:creationId xmlns:a16="http://schemas.microsoft.com/office/drawing/2014/main" id="{380E4DCA-0314-B2E9-82A3-CF36C148BFF8}"/>
              </a:ext>
            </a:extLst>
          </p:cNvPr>
          <p:cNvSpPr/>
          <p:nvPr/>
        </p:nvSpPr>
        <p:spPr>
          <a:xfrm>
            <a:off x="8519392" y="3061552"/>
            <a:ext cx="3590017" cy="945021"/>
          </a:xfrm>
          <a:prstGeom prst="rect">
            <a:avLst/>
          </a:prstGeom>
          <a:noFill/>
          <a:ln/>
        </p:spPr>
        <p:txBody>
          <a:bodyPr wrap="square" lIns="0" tIns="0" rIns="0" bIns="0" rtlCol="0" anchor="ctr"/>
          <a:lstStyle/>
          <a:p>
            <a:pPr lvl="0"/>
            <a:endParaRPr lang="da-DK" sz="1400"/>
          </a:p>
          <a:p>
            <a:pPr lvl="0"/>
            <a:endParaRPr lang="da-DK" sz="1400"/>
          </a:p>
          <a:p>
            <a:pPr lvl="0"/>
            <a:r>
              <a:rPr lang="da-DK" sz="3200"/>
              <a:t>Løbende udvikling  og forbedring  af fairways og teesteder</a:t>
            </a:r>
          </a:p>
          <a:p>
            <a:pPr marL="0" indent="0">
              <a:buNone/>
            </a:pPr>
            <a:endParaRPr lang="en-US" sz="1400"/>
          </a:p>
        </p:txBody>
      </p:sp>
      <p:sp>
        <p:nvSpPr>
          <p:cNvPr id="8" name="Rektangel 7">
            <a:extLst>
              <a:ext uri="{FF2B5EF4-FFF2-40B4-BE49-F238E27FC236}">
                <a16:creationId xmlns:a16="http://schemas.microsoft.com/office/drawing/2014/main" id="{95EB9825-8462-74CE-8690-FD9185E2A28A}"/>
              </a:ext>
            </a:extLst>
          </p:cNvPr>
          <p:cNvSpPr/>
          <p:nvPr/>
        </p:nvSpPr>
        <p:spPr>
          <a:xfrm>
            <a:off x="8519392" y="4751876"/>
            <a:ext cx="3051544" cy="5149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ext 9">
            <a:extLst>
              <a:ext uri="{FF2B5EF4-FFF2-40B4-BE49-F238E27FC236}">
                <a16:creationId xmlns:a16="http://schemas.microsoft.com/office/drawing/2014/main" id="{2FA9F005-FDD3-37B1-A6A1-32AC950473B3}"/>
              </a:ext>
            </a:extLst>
          </p:cNvPr>
          <p:cNvSpPr/>
          <p:nvPr/>
        </p:nvSpPr>
        <p:spPr>
          <a:xfrm>
            <a:off x="8369389" y="5162684"/>
            <a:ext cx="2651760" cy="384048"/>
          </a:xfrm>
          <a:prstGeom prst="rect">
            <a:avLst/>
          </a:prstGeom>
          <a:noFill/>
          <a:ln/>
        </p:spPr>
        <p:txBody>
          <a:bodyPr wrap="square" lIns="0" tIns="0" rIns="0" bIns="0" rtlCol="0" anchor="ctr"/>
          <a:lstStyle/>
          <a:p>
            <a:pPr marL="0" indent="0">
              <a:buNone/>
            </a:pPr>
            <a:endParaRPr lang="en-US" sz="1400"/>
          </a:p>
        </p:txBody>
      </p:sp>
      <p:pic>
        <p:nvPicPr>
          <p:cNvPr id="10" name="Billede 9" descr="Et billede, der indeholder symbol, logo, cirkel, Grafik&#10;&#10;AI-genereret indhold kan være ukorrekt.">
            <a:extLst>
              <a:ext uri="{FF2B5EF4-FFF2-40B4-BE49-F238E27FC236}">
                <a16:creationId xmlns:a16="http://schemas.microsoft.com/office/drawing/2014/main" id="{801D3220-6AAE-3E04-B5E4-58E53E0EBCE2}"/>
              </a:ext>
            </a:extLst>
          </p:cNvPr>
          <p:cNvPicPr>
            <a:picLocks noChangeAspect="1"/>
          </p:cNvPicPr>
          <p:nvPr/>
        </p:nvPicPr>
        <p:blipFill>
          <a:blip r:embed="rId7"/>
          <a:stretch>
            <a:fillRect/>
          </a:stretch>
        </p:blipFill>
        <p:spPr>
          <a:xfrm>
            <a:off x="7442234" y="4977096"/>
            <a:ext cx="1122155" cy="897723"/>
          </a:xfrm>
          <a:prstGeom prst="rect">
            <a:avLst/>
          </a:prstGeom>
        </p:spPr>
      </p:pic>
      <p:sp>
        <p:nvSpPr>
          <p:cNvPr id="11" name="Text 7">
            <a:extLst>
              <a:ext uri="{FF2B5EF4-FFF2-40B4-BE49-F238E27FC236}">
                <a16:creationId xmlns:a16="http://schemas.microsoft.com/office/drawing/2014/main" id="{2DDC1442-982B-372D-A60F-73C599111413}"/>
              </a:ext>
            </a:extLst>
          </p:cNvPr>
          <p:cNvSpPr/>
          <p:nvPr/>
        </p:nvSpPr>
        <p:spPr>
          <a:xfrm>
            <a:off x="8519392" y="4932060"/>
            <a:ext cx="3388060" cy="897723"/>
          </a:xfrm>
          <a:prstGeom prst="rect">
            <a:avLst/>
          </a:prstGeom>
          <a:noFill/>
          <a:ln/>
        </p:spPr>
        <p:txBody>
          <a:bodyPr wrap="square" lIns="0" tIns="0" rIns="0" bIns="0" rtlCol="0" anchor="ctr"/>
          <a:lstStyle/>
          <a:p>
            <a:pPr lvl="0"/>
            <a:endParaRPr lang="en-US" sz="1400">
              <a:latin typeface="Calibri" pitchFamily="34" charset="0"/>
              <a:ea typeface="Calibri" pitchFamily="34" charset="-122"/>
              <a:cs typeface="Calibri" pitchFamily="34" charset="-120"/>
            </a:endParaRPr>
          </a:p>
          <a:p>
            <a:pPr lvl="0"/>
            <a:endParaRPr lang="en-US" sz="1400">
              <a:latin typeface="Calibri" pitchFamily="34" charset="0"/>
              <a:ea typeface="Calibri" pitchFamily="34" charset="-122"/>
              <a:cs typeface="Calibri" pitchFamily="34" charset="-120"/>
            </a:endParaRPr>
          </a:p>
          <a:p>
            <a:pPr lvl="0"/>
            <a:endParaRPr lang="en-US" sz="1400">
              <a:latin typeface="Calibri" pitchFamily="34" charset="0"/>
              <a:ea typeface="Calibri" pitchFamily="34" charset="-122"/>
              <a:cs typeface="Calibri" pitchFamily="34" charset="-120"/>
            </a:endParaRPr>
          </a:p>
          <a:p>
            <a:pPr lvl="0"/>
            <a:r>
              <a:rPr lang="da-DK" sz="3200"/>
              <a:t>Fokus på jævne greens med ensartet hastighed</a:t>
            </a:r>
          </a:p>
          <a:p>
            <a:pPr lvl="0"/>
            <a:endParaRPr lang="da-DK" sz="1400"/>
          </a:p>
          <a:p>
            <a:pPr marL="0" indent="0">
              <a:buNone/>
            </a:pPr>
            <a:endParaRPr lang="en-US" sz="1400"/>
          </a:p>
        </p:txBody>
      </p:sp>
    </p:spTree>
    <p:extLst>
      <p:ext uri="{BB962C8B-B14F-4D97-AF65-F5344CB8AC3E}">
        <p14:creationId xmlns:p14="http://schemas.microsoft.com/office/powerpoint/2010/main" val="36527224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3EAEC-DD0C-1B12-C4B3-95DC22C10C56}"/>
            </a:ext>
          </a:extLst>
        </p:cNvPr>
        <p:cNvGrpSpPr/>
        <p:nvPr/>
      </p:nvGrpSpPr>
      <p:grpSpPr>
        <a:xfrm>
          <a:off x="0" y="0"/>
          <a:ext cx="0" cy="0"/>
          <a:chOff x="0" y="0"/>
          <a:chExt cx="0" cy="0"/>
        </a:xfrm>
      </p:grpSpPr>
      <p:pic>
        <p:nvPicPr>
          <p:cNvPr id="3" name="Billede 2" descr="Et billede, der indeholder tekst, Grafik, logo, grafisk design">
            <a:extLst>
              <a:ext uri="{FF2B5EF4-FFF2-40B4-BE49-F238E27FC236}">
                <a16:creationId xmlns:a16="http://schemas.microsoft.com/office/drawing/2014/main" id="{FA1D2EE5-A505-4B35-FF68-3831BD86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4336" y="197032"/>
            <a:ext cx="1078927" cy="968009"/>
          </a:xfrm>
          <a:prstGeom prst="rect">
            <a:avLst/>
          </a:prstGeom>
        </p:spPr>
      </p:pic>
      <p:sp>
        <p:nvSpPr>
          <p:cNvPr id="20" name="Titel 1">
            <a:extLst>
              <a:ext uri="{FF2B5EF4-FFF2-40B4-BE49-F238E27FC236}">
                <a16:creationId xmlns:a16="http://schemas.microsoft.com/office/drawing/2014/main" id="{72BD003B-07C7-3F11-5343-6F7E94936524}"/>
              </a:ext>
            </a:extLst>
          </p:cNvPr>
          <p:cNvSpPr>
            <a:spLocks noGrp="1"/>
          </p:cNvSpPr>
          <p:nvPr>
            <p:ph type="title"/>
          </p:nvPr>
        </p:nvSpPr>
        <p:spPr>
          <a:xfrm>
            <a:off x="1152630" y="361027"/>
            <a:ext cx="9886739" cy="1330840"/>
          </a:xfrm>
        </p:spPr>
        <p:txBody>
          <a:bodyPr vert="horz" lIns="91440" tIns="45720" rIns="91440" bIns="45720" rtlCol="0" anchor="ctr">
            <a:normAutofit fontScale="90000"/>
          </a:bodyPr>
          <a:lstStyle/>
          <a:p>
            <a:r>
              <a:rPr lang="en-US" sz="5300" b="1" kern="1200">
                <a:solidFill>
                  <a:schemeClr val="tx1"/>
                </a:solidFill>
                <a:latin typeface="+mj-lt"/>
                <a:ea typeface="+mj-ea"/>
                <a:cs typeface="+mj-cs"/>
              </a:rPr>
              <a:t>IGANGVÆRENDE PROJEKTER</a:t>
            </a:r>
            <a:br>
              <a:rPr lang="en-US" sz="5300" b="1" kern="1200">
                <a:solidFill>
                  <a:schemeClr val="tx1"/>
                </a:solidFill>
                <a:latin typeface="+mj-lt"/>
                <a:ea typeface="+mj-ea"/>
                <a:cs typeface="+mj-cs"/>
              </a:rPr>
            </a:br>
            <a:r>
              <a:rPr lang="en-US" b="1" i="1" kern="1200">
                <a:solidFill>
                  <a:schemeClr val="tx1"/>
                </a:solidFill>
                <a:latin typeface="+mj-lt"/>
                <a:ea typeface="+mj-ea"/>
                <a:cs typeface="+mj-cs"/>
              </a:rPr>
              <a:t>BESLUTTET ELLER DELVIST GENNEMFØRT</a:t>
            </a:r>
            <a:br>
              <a:rPr lang="en-US" sz="2000" b="1" i="1" kern="1200">
                <a:solidFill>
                  <a:schemeClr val="tx1"/>
                </a:solidFill>
                <a:latin typeface="+mj-lt"/>
                <a:ea typeface="+mj-ea"/>
                <a:cs typeface="+mj-cs"/>
              </a:rPr>
            </a:br>
            <a:br>
              <a:rPr lang="en-US" sz="2000" b="1" i="1" kern="1200">
                <a:solidFill>
                  <a:schemeClr val="tx1"/>
                </a:solidFill>
                <a:latin typeface="+mj-lt"/>
                <a:ea typeface="+mj-ea"/>
                <a:cs typeface="+mj-cs"/>
              </a:rPr>
            </a:br>
            <a:endParaRPr lang="en-US" sz="2400" b="1" i="1" kern="1200">
              <a:solidFill>
                <a:schemeClr val="tx1"/>
              </a:solidFill>
              <a:latin typeface="+mj-lt"/>
              <a:ea typeface="+mj-ea"/>
              <a:cs typeface="+mj-cs"/>
            </a:endParaRPr>
          </a:p>
        </p:txBody>
      </p:sp>
      <p:sp>
        <p:nvSpPr>
          <p:cNvPr id="31" name="Shape 15">
            <a:extLst>
              <a:ext uri="{FF2B5EF4-FFF2-40B4-BE49-F238E27FC236}">
                <a16:creationId xmlns:a16="http://schemas.microsoft.com/office/drawing/2014/main" id="{CACDBA38-4E6C-9307-2800-85FD4C6CAFF6}"/>
              </a:ext>
            </a:extLst>
          </p:cNvPr>
          <p:cNvSpPr/>
          <p:nvPr/>
        </p:nvSpPr>
        <p:spPr>
          <a:xfrm>
            <a:off x="1439402" y="1846533"/>
            <a:ext cx="9117168" cy="3999096"/>
          </a:xfrm>
          <a:prstGeom prst="rect">
            <a:avLst/>
          </a:prstGeom>
          <a:solidFill>
            <a:srgbClr val="FFFFFF"/>
          </a:solidFill>
          <a:ln w="12700">
            <a:solidFill>
              <a:srgbClr val="DDDDDD"/>
            </a:solidFill>
            <a:prstDash val="solid"/>
          </a:ln>
          <a:effectLst>
            <a:outerShdw blurRad="101600" dist="25400" dir="8100000" algn="bl" rotWithShape="0">
              <a:srgbClr val="000000">
                <a:alpha val="10000"/>
              </a:srgbClr>
            </a:outerShdw>
          </a:effectLst>
        </p:spPr>
        <p:txBody>
          <a:bodyPr/>
          <a:lstStyle/>
          <a:p>
            <a:endParaRPr lang="da-DK"/>
          </a:p>
        </p:txBody>
      </p:sp>
      <p:sp>
        <p:nvSpPr>
          <p:cNvPr id="32" name="Shape 16">
            <a:extLst>
              <a:ext uri="{FF2B5EF4-FFF2-40B4-BE49-F238E27FC236}">
                <a16:creationId xmlns:a16="http://schemas.microsoft.com/office/drawing/2014/main" id="{318F246B-ECEE-7C6B-EB93-3676885A3632}"/>
              </a:ext>
            </a:extLst>
          </p:cNvPr>
          <p:cNvSpPr/>
          <p:nvPr/>
        </p:nvSpPr>
        <p:spPr>
          <a:xfrm>
            <a:off x="1466615" y="1703146"/>
            <a:ext cx="9106282" cy="306349"/>
          </a:xfrm>
          <a:prstGeom prst="rect">
            <a:avLst/>
          </a:prstGeom>
          <a:solidFill>
            <a:srgbClr val="8B6914"/>
          </a:solidFill>
          <a:ln w="12700">
            <a:solidFill>
              <a:srgbClr val="8B6914"/>
            </a:solidFill>
            <a:prstDash val="solid"/>
          </a:ln>
        </p:spPr>
        <p:txBody>
          <a:bodyPr/>
          <a:lstStyle/>
          <a:p>
            <a:endParaRPr lang="da-DK"/>
          </a:p>
        </p:txBody>
      </p:sp>
      <p:sp>
        <p:nvSpPr>
          <p:cNvPr id="33" name="Text 17">
            <a:extLst>
              <a:ext uri="{FF2B5EF4-FFF2-40B4-BE49-F238E27FC236}">
                <a16:creationId xmlns:a16="http://schemas.microsoft.com/office/drawing/2014/main" id="{E56D77C1-7712-99E9-7DA7-7169DFCA1137}"/>
              </a:ext>
            </a:extLst>
          </p:cNvPr>
          <p:cNvSpPr/>
          <p:nvPr/>
        </p:nvSpPr>
        <p:spPr>
          <a:xfrm>
            <a:off x="1514109" y="2152709"/>
            <a:ext cx="5186488" cy="365760"/>
          </a:xfrm>
          <a:prstGeom prst="rect">
            <a:avLst/>
          </a:prstGeom>
          <a:noFill/>
          <a:ln/>
        </p:spPr>
        <p:txBody>
          <a:bodyPr wrap="square" lIns="0" tIns="0" rIns="0" bIns="0" rtlCol="0" anchor="ctr"/>
          <a:lstStyle/>
          <a:p>
            <a:pPr marL="0" indent="0">
              <a:buNone/>
            </a:pPr>
            <a:r>
              <a:rPr lang="en-US" sz="3600" b="1" kern="0" spc="200" dirty="0">
                <a:solidFill>
                  <a:srgbClr val="8B6914"/>
                </a:solidFill>
                <a:latin typeface="Calibri" pitchFamily="34" charset="0"/>
                <a:ea typeface="Calibri" pitchFamily="34" charset="-122"/>
                <a:cs typeface="Calibri" pitchFamily="34" charset="-120"/>
              </a:rPr>
              <a:t>SØ &amp; NATURPROJEKTER</a:t>
            </a:r>
            <a:endParaRPr lang="en-US" sz="3600" dirty="0"/>
          </a:p>
        </p:txBody>
      </p:sp>
      <p:pic>
        <p:nvPicPr>
          <p:cNvPr id="34" name="Image 6" descr="preencoded.png">
            <a:extLst>
              <a:ext uri="{FF2B5EF4-FFF2-40B4-BE49-F238E27FC236}">
                <a16:creationId xmlns:a16="http://schemas.microsoft.com/office/drawing/2014/main" id="{567C65E0-F0C7-F978-1D75-7E248A58A2BE}"/>
              </a:ext>
            </a:extLst>
          </p:cNvPr>
          <p:cNvPicPr>
            <a:picLocks noChangeAspect="1"/>
          </p:cNvPicPr>
          <p:nvPr/>
        </p:nvPicPr>
        <p:blipFill>
          <a:blip r:embed="rId4"/>
          <a:stretch>
            <a:fillRect/>
          </a:stretch>
        </p:blipFill>
        <p:spPr>
          <a:xfrm>
            <a:off x="1503820" y="2702478"/>
            <a:ext cx="339650" cy="350535"/>
          </a:xfrm>
          <a:prstGeom prst="rect">
            <a:avLst/>
          </a:prstGeom>
        </p:spPr>
      </p:pic>
      <p:sp>
        <p:nvSpPr>
          <p:cNvPr id="35" name="Text 18">
            <a:extLst>
              <a:ext uri="{FF2B5EF4-FFF2-40B4-BE49-F238E27FC236}">
                <a16:creationId xmlns:a16="http://schemas.microsoft.com/office/drawing/2014/main" id="{4AA2D8BE-B093-AD24-D598-464BE32FDB48}"/>
              </a:ext>
            </a:extLst>
          </p:cNvPr>
          <p:cNvSpPr/>
          <p:nvPr/>
        </p:nvSpPr>
        <p:spPr>
          <a:xfrm>
            <a:off x="1439401" y="3187240"/>
            <a:ext cx="9599967" cy="640080"/>
          </a:xfrm>
          <a:prstGeom prst="rect">
            <a:avLst/>
          </a:prstGeom>
          <a:noFill/>
          <a:ln/>
        </p:spPr>
        <p:txBody>
          <a:bodyPr wrap="square" lIns="0" tIns="0" rIns="0" bIns="0" rtlCol="0" anchor="t"/>
          <a:lstStyle/>
          <a:p>
            <a:pPr marL="571500" indent="-571500">
              <a:buFont typeface="Wingdings" panose="05000000000000000000" pitchFamily="2" charset="2"/>
              <a:buChar char="Ø"/>
            </a:pPr>
            <a:r>
              <a:rPr lang="en-US" sz="4000" dirty="0" err="1">
                <a:solidFill>
                  <a:srgbClr val="1A2E1A"/>
                </a:solidFill>
                <a:latin typeface="Calibri" pitchFamily="34" charset="0"/>
                <a:ea typeface="Calibri" pitchFamily="34" charset="-122"/>
                <a:cs typeface="Calibri" pitchFamily="34" charset="-120"/>
              </a:rPr>
              <a:t>Renovering</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af</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bæk</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og</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skrænt</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ved</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hul</a:t>
            </a:r>
            <a:r>
              <a:rPr lang="en-US" sz="4000" dirty="0">
                <a:solidFill>
                  <a:srgbClr val="1A2E1A"/>
                </a:solidFill>
                <a:latin typeface="Calibri" pitchFamily="34" charset="0"/>
                <a:ea typeface="Calibri" pitchFamily="34" charset="-122"/>
                <a:cs typeface="Calibri" pitchFamily="34" charset="-120"/>
              </a:rPr>
              <a:t> 8</a:t>
            </a:r>
            <a:endParaRPr lang="en-US" sz="4000" dirty="0"/>
          </a:p>
          <a:p>
            <a:pPr marL="571500" indent="-571500">
              <a:buFont typeface="Wingdings" panose="05000000000000000000" pitchFamily="2" charset="2"/>
              <a:buChar char="Ø"/>
            </a:pPr>
            <a:r>
              <a:rPr lang="en-US" sz="4000" dirty="0" err="1">
                <a:solidFill>
                  <a:srgbClr val="1A2E1A"/>
                </a:solidFill>
                <a:latin typeface="Calibri" pitchFamily="34" charset="0"/>
                <a:ea typeface="Calibri" pitchFamily="34" charset="-122"/>
                <a:cs typeface="Calibri" pitchFamily="34" charset="-120"/>
              </a:rPr>
              <a:t>Ansøgning</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til</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kommune</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ny</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sø</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i</a:t>
            </a:r>
            <a:r>
              <a:rPr lang="en-US" sz="4000" dirty="0">
                <a:solidFill>
                  <a:srgbClr val="1A2E1A"/>
                </a:solidFill>
                <a:latin typeface="Calibri" pitchFamily="34" charset="0"/>
                <a:ea typeface="Calibri" pitchFamily="34" charset="-122"/>
                <a:cs typeface="Calibri" pitchFamily="34" charset="-120"/>
              </a:rPr>
              <a:t> dogleg </a:t>
            </a:r>
            <a:r>
              <a:rPr lang="en-US" sz="4000" dirty="0" err="1">
                <a:solidFill>
                  <a:srgbClr val="1A2E1A"/>
                </a:solidFill>
                <a:latin typeface="Calibri" pitchFamily="34" charset="0"/>
                <a:ea typeface="Calibri" pitchFamily="34" charset="-122"/>
                <a:cs typeface="Calibri" pitchFamily="34" charset="-120"/>
              </a:rPr>
              <a:t>hul</a:t>
            </a:r>
            <a:r>
              <a:rPr lang="en-US" sz="4000" dirty="0">
                <a:solidFill>
                  <a:srgbClr val="1A2E1A"/>
                </a:solidFill>
                <a:latin typeface="Calibri" pitchFamily="34" charset="0"/>
                <a:ea typeface="Calibri" pitchFamily="34" charset="-122"/>
                <a:cs typeface="Calibri" pitchFamily="34" charset="-120"/>
              </a:rPr>
              <a:t> 8</a:t>
            </a:r>
          </a:p>
          <a:p>
            <a:pPr marL="571500" indent="-571500">
              <a:buFont typeface="Wingdings" panose="05000000000000000000" pitchFamily="2" charset="2"/>
              <a:buChar char="Ø"/>
            </a:pPr>
            <a:r>
              <a:rPr lang="en-US" sz="4000" dirty="0" err="1">
                <a:solidFill>
                  <a:srgbClr val="1A2E1A"/>
                </a:solidFill>
                <a:latin typeface="Calibri" pitchFamily="34" charset="0"/>
                <a:ea typeface="Calibri" pitchFamily="34" charset="-122"/>
                <a:cs typeface="Calibri" pitchFamily="34" charset="-120"/>
              </a:rPr>
              <a:t>Vedligeholdelse</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af</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søer</a:t>
            </a:r>
            <a:r>
              <a:rPr lang="en-US" sz="4000" dirty="0">
                <a:solidFill>
                  <a:srgbClr val="1A2E1A"/>
                </a:solidFill>
                <a:latin typeface="Calibri" pitchFamily="34" charset="0"/>
                <a:ea typeface="Calibri" pitchFamily="34" charset="-122"/>
                <a:cs typeface="Calibri" pitchFamily="34" charset="-120"/>
              </a:rPr>
              <a:t> (9/18)</a:t>
            </a:r>
            <a:endParaRPr lang="en-US" sz="4000" dirty="0"/>
          </a:p>
        </p:txBody>
      </p:sp>
      <p:sp>
        <p:nvSpPr>
          <p:cNvPr id="37" name="Text 19">
            <a:extLst>
              <a:ext uri="{FF2B5EF4-FFF2-40B4-BE49-F238E27FC236}">
                <a16:creationId xmlns:a16="http://schemas.microsoft.com/office/drawing/2014/main" id="{BC7E265D-C6CD-2346-4B5D-2D156C339191}"/>
              </a:ext>
            </a:extLst>
          </p:cNvPr>
          <p:cNvSpPr/>
          <p:nvPr/>
        </p:nvSpPr>
        <p:spPr>
          <a:xfrm>
            <a:off x="1912793" y="3395953"/>
            <a:ext cx="2194560" cy="640080"/>
          </a:xfrm>
          <a:prstGeom prst="rect">
            <a:avLst/>
          </a:prstGeom>
          <a:noFill/>
          <a:ln/>
        </p:spPr>
        <p:txBody>
          <a:bodyPr wrap="square" lIns="0" tIns="0" rIns="0" bIns="0" rtlCol="0" anchor="t"/>
          <a:lstStyle/>
          <a:p>
            <a:pPr marL="0" indent="0">
              <a:buNone/>
            </a:pPr>
            <a:endParaRPr lang="en-US" sz="1200"/>
          </a:p>
        </p:txBody>
      </p:sp>
      <p:sp>
        <p:nvSpPr>
          <p:cNvPr id="22" name="Text 8">
            <a:extLst>
              <a:ext uri="{FF2B5EF4-FFF2-40B4-BE49-F238E27FC236}">
                <a16:creationId xmlns:a16="http://schemas.microsoft.com/office/drawing/2014/main" id="{725346E8-3ADA-03FD-E527-9FD577151584}"/>
              </a:ext>
            </a:extLst>
          </p:cNvPr>
          <p:cNvSpPr/>
          <p:nvPr/>
        </p:nvSpPr>
        <p:spPr>
          <a:xfrm>
            <a:off x="1842130" y="3730186"/>
            <a:ext cx="5785662" cy="640080"/>
          </a:xfrm>
          <a:prstGeom prst="rect">
            <a:avLst/>
          </a:prstGeom>
          <a:noFill/>
          <a:ln/>
        </p:spPr>
        <p:txBody>
          <a:bodyPr wrap="square" lIns="0" tIns="0" rIns="0" bIns="0" rtlCol="0" anchor="t"/>
          <a:lstStyle/>
          <a:p>
            <a:pPr marL="0" indent="0">
              <a:buNone/>
            </a:pPr>
            <a:endParaRPr lang="en-US" sz="2800">
              <a:solidFill>
                <a:srgbClr val="1A2E1A"/>
              </a:solidFill>
              <a:latin typeface="Calibri" pitchFamily="34" charset="0"/>
              <a:ea typeface="Calibri" pitchFamily="34" charset="-122"/>
              <a:cs typeface="Calibri" pitchFamily="34" charset="-120"/>
            </a:endParaRPr>
          </a:p>
        </p:txBody>
      </p:sp>
      <p:pic>
        <p:nvPicPr>
          <p:cNvPr id="38" name="Pladsholder til indhold 4">
            <a:extLst>
              <a:ext uri="{FF2B5EF4-FFF2-40B4-BE49-F238E27FC236}">
                <a16:creationId xmlns:a16="http://schemas.microsoft.com/office/drawing/2014/main" id="{3C274932-D001-9FE2-E6C2-D2EC3552C662}"/>
              </a:ext>
            </a:extLst>
          </p:cNvPr>
          <p:cNvPicPr>
            <a:picLocks noChangeAspect="1"/>
          </p:cNvPicPr>
          <p:nvPr/>
        </p:nvPicPr>
        <p:blipFill>
          <a:blip r:embed="rId5">
            <a:extLst>
              <a:ext uri="{28A0092B-C50C-407E-A947-70E740481C1C}">
                <a14:useLocalDpi xmlns:a14="http://schemas.microsoft.com/office/drawing/2010/main" val="0"/>
              </a:ext>
            </a:extLst>
          </a:blip>
          <a:srcRect l="39630" r="15716"/>
          <a:stretch>
            <a:fillRect/>
          </a:stretch>
        </p:blipFill>
        <p:spPr>
          <a:xfrm>
            <a:off x="-216805" y="10"/>
            <a:ext cx="1449002"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4" name="Tekstfelt 3">
            <a:extLst>
              <a:ext uri="{FF2B5EF4-FFF2-40B4-BE49-F238E27FC236}">
                <a16:creationId xmlns:a16="http://schemas.microsoft.com/office/drawing/2014/main" id="{2C3BE5C4-83E9-B69B-9D9C-A8CEDBA05872}"/>
              </a:ext>
            </a:extLst>
          </p:cNvPr>
          <p:cNvSpPr txBox="1"/>
          <p:nvPr/>
        </p:nvSpPr>
        <p:spPr>
          <a:xfrm>
            <a:off x="1912792" y="2518469"/>
            <a:ext cx="7448921" cy="707886"/>
          </a:xfrm>
          <a:prstGeom prst="rect">
            <a:avLst/>
          </a:prstGeom>
          <a:noFill/>
        </p:spPr>
        <p:txBody>
          <a:bodyPr wrap="square">
            <a:spAutoFit/>
          </a:bodyPr>
          <a:lstStyle/>
          <a:p>
            <a:r>
              <a:rPr lang="en-US" sz="4000" dirty="0" err="1">
                <a:solidFill>
                  <a:srgbClr val="1A2E1A"/>
                </a:solidFill>
                <a:latin typeface="Calibri" pitchFamily="34" charset="0"/>
                <a:ea typeface="Calibri" pitchFamily="34" charset="-122"/>
                <a:cs typeface="Calibri" pitchFamily="34" charset="-120"/>
              </a:rPr>
              <a:t>Vedligeholdelse</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af</a:t>
            </a:r>
            <a:r>
              <a:rPr lang="en-US" sz="4000" dirty="0">
                <a:solidFill>
                  <a:srgbClr val="1A2E1A"/>
                </a:solidFill>
                <a:latin typeface="Calibri" pitchFamily="34" charset="0"/>
                <a:ea typeface="Calibri" pitchFamily="34" charset="-122"/>
                <a:cs typeface="Calibri" pitchFamily="34" charset="-120"/>
              </a:rPr>
              <a:t> </a:t>
            </a:r>
            <a:r>
              <a:rPr lang="en-US" sz="4000" dirty="0" err="1">
                <a:solidFill>
                  <a:srgbClr val="1A2E1A"/>
                </a:solidFill>
                <a:latin typeface="Calibri" pitchFamily="34" charset="0"/>
                <a:ea typeface="Calibri" pitchFamily="34" charset="-122"/>
                <a:cs typeface="Calibri" pitchFamily="34" charset="-120"/>
              </a:rPr>
              <a:t>søer</a:t>
            </a:r>
            <a:r>
              <a:rPr lang="en-US" sz="4000" dirty="0">
                <a:solidFill>
                  <a:srgbClr val="1A2E1A"/>
                </a:solidFill>
                <a:latin typeface="Calibri" pitchFamily="34" charset="0"/>
                <a:ea typeface="Calibri" pitchFamily="34" charset="-122"/>
                <a:cs typeface="Calibri" pitchFamily="34" charset="-120"/>
              </a:rPr>
              <a:t> (15/16)</a:t>
            </a:r>
            <a:endParaRPr lang="en-US" sz="4000" dirty="0"/>
          </a:p>
        </p:txBody>
      </p:sp>
    </p:spTree>
    <p:extLst>
      <p:ext uri="{BB962C8B-B14F-4D97-AF65-F5344CB8AC3E}">
        <p14:creationId xmlns:p14="http://schemas.microsoft.com/office/powerpoint/2010/main" val="15154766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BAA47587AF7A74288027B9E19748069" ma:contentTypeVersion="18" ma:contentTypeDescription="Opret et nyt dokument." ma:contentTypeScope="" ma:versionID="39039737d32d5f3bf50f99ac3c26115f">
  <xsd:schema xmlns:xsd="http://www.w3.org/2001/XMLSchema" xmlns:xs="http://www.w3.org/2001/XMLSchema" xmlns:p="http://schemas.microsoft.com/office/2006/metadata/properties" xmlns:ns2="4a21caa9-a85c-4102-b61d-c96003b70158" xmlns:ns3="77f658d8-3c29-41b5-90e8-1cfaaf207c92" targetNamespace="http://schemas.microsoft.com/office/2006/metadata/properties" ma:root="true" ma:fieldsID="9b0955c5b4f3a852dc9a34bff7450519" ns2:_="" ns3:_="">
    <xsd:import namespace="4a21caa9-a85c-4102-b61d-c96003b70158"/>
    <xsd:import namespace="77f658d8-3c29-41b5-90e8-1cfaaf207c9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DateTaken"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21caa9-a85c-4102-b61d-c96003b70158"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acf4ef00-9a66-4d09-973b-09b9ec62e63b}" ma:internalName="TaxCatchAll" ma:showField="CatchAllData" ma:web="4a21caa9-a85c-4102-b61d-c96003b7015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7f658d8-3c29-41b5-90e8-1cfaaf207c9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6b49aa2b-ec41-4504-b7e0-79e7fe98b07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7f658d8-3c29-41b5-90e8-1cfaaf207c92">
      <Terms xmlns="http://schemas.microsoft.com/office/infopath/2007/PartnerControls"/>
    </lcf76f155ced4ddcb4097134ff3c332f>
    <TaxCatchAll xmlns="4a21caa9-a85c-4102-b61d-c96003b70158" xsi:nil="true"/>
  </documentManagement>
</p:properties>
</file>

<file path=customXml/itemProps1.xml><?xml version="1.0" encoding="utf-8"?>
<ds:datastoreItem xmlns:ds="http://schemas.openxmlformats.org/officeDocument/2006/customXml" ds:itemID="{A3F8A189-6CD0-4A4B-AD6A-FAF74107D1C5}">
  <ds:schemaRefs>
    <ds:schemaRef ds:uri="http://schemas.microsoft.com/sharepoint/v3/contenttype/forms"/>
  </ds:schemaRefs>
</ds:datastoreItem>
</file>

<file path=customXml/itemProps2.xml><?xml version="1.0" encoding="utf-8"?>
<ds:datastoreItem xmlns:ds="http://schemas.openxmlformats.org/officeDocument/2006/customXml" ds:itemID="{552B3C91-F79F-44A5-9138-57A5F27F5330}">
  <ds:schemaRefs>
    <ds:schemaRef ds:uri="4a21caa9-a85c-4102-b61d-c96003b70158"/>
    <ds:schemaRef ds:uri="77f658d8-3c29-41b5-90e8-1cfaaf207c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91B4C70-A744-48F0-9301-D02991C83144}">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purl.org/dc/terms/"/>
    <ds:schemaRef ds:uri="http://purl.org/dc/dcmitype/"/>
    <ds:schemaRef ds:uri="http://schemas.microsoft.com/office/infopath/2007/PartnerControls"/>
    <ds:schemaRef ds:uri="77f658d8-3c29-41b5-90e8-1cfaaf207c92"/>
    <ds:schemaRef ds:uri="4a21caa9-a85c-4102-b61d-c96003b70158"/>
  </ds:schemaRefs>
</ds:datastoreItem>
</file>

<file path=docProps/app.xml><?xml version="1.0" encoding="utf-8"?>
<Properties xmlns="http://schemas.openxmlformats.org/officeDocument/2006/extended-properties" xmlns:vt="http://schemas.openxmlformats.org/officeDocument/2006/docPropsVTypes">
  <TotalTime>84</TotalTime>
  <Words>3783</Words>
  <Application>Microsoft Office PowerPoint</Application>
  <PresentationFormat>Widescreen</PresentationFormat>
  <Paragraphs>625</Paragraphs>
  <Slides>45</Slides>
  <Notes>45</Notes>
  <HiddenSlides>0</HiddenSlides>
  <MMClips>0</MMClips>
  <ScaleCrop>false</ScaleCrop>
  <HeadingPairs>
    <vt:vector size="4" baseType="variant">
      <vt:variant>
        <vt:lpstr>Theme</vt:lpstr>
      </vt:variant>
      <vt:variant>
        <vt:i4>2</vt:i4>
      </vt:variant>
      <vt:variant>
        <vt:lpstr>Slide Titles</vt:lpstr>
      </vt:variant>
      <vt:variant>
        <vt:i4>45</vt:i4>
      </vt:variant>
    </vt:vector>
  </HeadingPairs>
  <TitlesOfParts>
    <vt:vector size="47" baseType="lpstr">
      <vt:lpstr>Office Theme</vt:lpstr>
      <vt:lpstr>1_Office Theme</vt:lpstr>
      <vt:lpstr>PowerPoint Presentation</vt:lpstr>
      <vt:lpstr>DAGSORDEN 1/2</vt:lpstr>
      <vt:lpstr>DAGSORDEN 2/2</vt:lpstr>
      <vt:lpstr>VALG AF DIRIGENT</vt:lpstr>
      <vt:lpstr>PowerPoint Presentation</vt:lpstr>
      <vt:lpstr>PowerPoint Presentation</vt:lpstr>
      <vt:lpstr>PowerPoint Presentation</vt:lpstr>
      <vt:lpstr>BANEUDVIKLING    Udvikling i samspil mellem bestyrelse, chefgreenkeeper   og frivillige  Prioriteringer drøftes løbende   i bestyrelsen </vt:lpstr>
      <vt:lpstr>IGANGVÆRENDE PROJEKTER BESLUTTET ELLER DELVIST GENNEMFØRT  </vt:lpstr>
      <vt:lpstr>IGANGVÆRENDE PROJEKTER BESLUTTET ELLER DELVIST GENNEMFØRT  </vt:lpstr>
      <vt:lpstr>FREMTIDIGE PROJEKTER PLANER OG MULIGHEDER PÅ LANG SIGT  </vt:lpstr>
      <vt:lpstr>FREMTIDIGE PROJEKTER PLANER OG MULIGHEDER PÅ LANG SIGT  </vt:lpstr>
      <vt:lpstr>MEDLEMS UDVIKLING</vt:lpstr>
      <vt:lpstr>MEDLEMSUDVIKLING</vt:lpstr>
      <vt:lpstr>AMBASSADØR SCORE 2025</vt:lpstr>
      <vt:lpstr>AMBASSADØR SCORE 2025</vt:lpstr>
      <vt:lpstr>ÅRSAGER UDMELDINGER</vt:lpstr>
      <vt:lpstr>ER DU MEDLEM OM 2 ÅR?</vt:lpstr>
      <vt:lpstr>KLUBAFHÆNGIG /KLUBUAFHÆNGIG</vt:lpstr>
      <vt:lpstr>PLAYERS FIRST HIGHLIGHTS MEDLEMMER</vt:lpstr>
      <vt:lpstr>PLAYERS FIRST HIGHLIGHTS GÆSTER</vt:lpstr>
      <vt:lpstr>ØGR  ANTAL SOLGTE KORT</vt:lpstr>
      <vt:lpstr>ØGR ANTAL SPILLEDE RUNDER</vt:lpstr>
      <vt:lpstr>PRO  </vt:lpstr>
      <vt:lpstr>- JUNIORERNE LEVERER</vt:lpstr>
      <vt:lpstr>- VETERAN OPRYKNING</vt:lpstr>
      <vt:lpstr>Tak til vores  sponsorer!</vt:lpstr>
      <vt:lpstr>PowerPoint Presentation</vt:lpstr>
      <vt:lpstr>SHOP  &amp;  CAFE</vt:lpstr>
      <vt:lpstr>MOMSREFUSION</vt:lpstr>
      <vt:lpstr>REGNSKAB</vt:lpstr>
      <vt:lpstr>PowerPoint Presentation</vt:lpstr>
      <vt:lpstr>PowerPoint Presentation</vt:lpstr>
      <vt:lpstr>BALANCE 31/12 2025</vt:lpstr>
      <vt:lpstr>BUDGET 2026</vt:lpstr>
      <vt:lpstr>PowerPoint Presentation</vt:lpstr>
      <vt:lpstr>PowerPoint Presentation</vt:lpstr>
      <vt:lpstr>KONTINGENTFORSLAG</vt:lpstr>
      <vt:lpstr>FORSLAG FRA BESTYRELSEN</vt:lpstr>
      <vt:lpstr>FORSLAG FRA MEDLEMMER</vt:lpstr>
      <vt:lpstr>VALG TIL BESTYRELSE</vt:lpstr>
      <vt:lpstr>VALG AF SUPPLEANT</vt:lpstr>
      <vt:lpstr>VALG AF  EKSTERN REVISOR</vt:lpstr>
      <vt:lpstr>EVENTUELT</vt:lpstr>
      <vt:lpstr>TAK FOR I AFT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rthe Fuglsang</dc:creator>
  <cp:lastModifiedBy>Dorthe Fuglsang</cp:lastModifiedBy>
  <cp:revision>141</cp:revision>
  <cp:lastPrinted>2026-02-23T12:55:47Z</cp:lastPrinted>
  <dcterms:created xsi:type="dcterms:W3CDTF">2019-12-09T12:10:47Z</dcterms:created>
  <dcterms:modified xsi:type="dcterms:W3CDTF">2026-03-10T13: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A47587AF7A74288027B9E19748069</vt:lpwstr>
  </property>
  <property fmtid="{D5CDD505-2E9C-101B-9397-08002B2CF9AE}" pid="3" name="MediaServiceImageTags">
    <vt:lpwstr/>
  </property>
</Properties>
</file>